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0.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4361" r:id="rId5"/>
    <p:sldId id="3315" r:id="rId6"/>
    <p:sldId id="4337" r:id="rId7"/>
    <p:sldId id="4349" r:id="rId8"/>
    <p:sldId id="556" r:id="rId9"/>
    <p:sldId id="9993" r:id="rId10"/>
    <p:sldId id="9998" r:id="rId11"/>
    <p:sldId id="9999" r:id="rId12"/>
    <p:sldId id="4366" r:id="rId13"/>
    <p:sldId id="4364" r:id="rId14"/>
    <p:sldId id="4365" r:id="rId15"/>
    <p:sldId id="9997" r:id="rId16"/>
    <p:sldId id="290" r:id="rId17"/>
    <p:sldId id="9996" r:id="rId18"/>
    <p:sldId id="936" r:id="rId19"/>
  </p:sldIdLst>
  <p:sldSz cx="12192000" cy="6858000"/>
  <p:notesSz cx="6669088" cy="9872663"/>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ts &amp; Figures Presentation" id="{69B21D0F-BDF2-4C6A-B980-4BA8B6763D94}">
          <p14:sldIdLst>
            <p14:sldId id="4361"/>
            <p14:sldId id="3315"/>
            <p14:sldId id="4337"/>
            <p14:sldId id="4349"/>
            <p14:sldId id="556"/>
            <p14:sldId id="9993"/>
            <p14:sldId id="9998"/>
            <p14:sldId id="9999"/>
            <p14:sldId id="4366"/>
            <p14:sldId id="4364"/>
            <p14:sldId id="4365"/>
            <p14:sldId id="9997"/>
            <p14:sldId id="290"/>
            <p14:sldId id="9996"/>
            <p14:sldId id="936"/>
          </p14:sldIdLst>
        </p14:section>
      </p14:sectionLst>
    </p:ext>
    <p:ext uri="{EFAFB233-063F-42B5-8137-9DF3F51BA10A}">
      <p15:sldGuideLst xmlns:p15="http://schemas.microsoft.com/office/powerpoint/2012/main">
        <p15:guide id="10" orient="horz" pos="2636" userDrawn="1">
          <p15:clr>
            <a:srgbClr val="A4A3A4"/>
          </p15:clr>
        </p15:guide>
        <p15:guide id="11" pos="1164" userDrawn="1">
          <p15:clr>
            <a:srgbClr val="A4A3A4"/>
          </p15:clr>
        </p15:guide>
        <p15:guide id="12" orient="horz" pos="2954" userDrawn="1">
          <p15:clr>
            <a:srgbClr val="A4A3A4"/>
          </p15:clr>
        </p15:guide>
        <p15:guide id="13" orient="horz" pos="2183" userDrawn="1">
          <p15:clr>
            <a:srgbClr val="A4A3A4"/>
          </p15:clr>
        </p15:guide>
        <p15:guide id="14" orient="horz" pos="1911" userDrawn="1">
          <p15:clr>
            <a:srgbClr val="A4A3A4"/>
          </p15:clr>
        </p15:guide>
        <p15:guide id="15" orient="horz" pos="1752" userDrawn="1">
          <p15:clr>
            <a:srgbClr val="A4A3A4"/>
          </p15:clr>
        </p15:guide>
        <p15:guide id="16" pos="3296" userDrawn="1">
          <p15:clr>
            <a:srgbClr val="A4A3A4"/>
          </p15:clr>
        </p15:guide>
        <p15:guide id="17" pos="1255"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8F131C-2F40-4DED-B67E-963B53C5A735}" name="Christina Schuhegger" initials="CS" userId="S::Christina.Schuhegger@baywa-re.com::fcf20dc7-4741-4e33-a3d6-dcadc1a268fa" providerId="AD"/>
  <p188:author id="{4B889D39-EC4B-F7BE-E737-B37FA6532A00}" name="Edith Guerrero" initials="EG" userId="S::edith.guerrero@baywa-re.com::7dfbf908-1b7a-494e-b746-3bbb77725602" providerId="AD"/>
  <p188:author id="{D1213B7C-3239-8F76-71D7-0F44E766E2A4}" name="Jael Perez" initials="JP" userId="S::jael.perez@baywa-re.com::bff5b187-0fd4-49bc-9acb-94c53861a53a" providerId="AD"/>
  <p188:author id="{77CB20B0-B564-4FA0-FF25-AD2577783B1C}" name="Kirsten Möller" initials="KM" userId="S::Kirsten.Moeller@baywa-re.com::d00034c3-fcd6-4aba-9195-4ea7170eb7ab" providerId="AD"/>
  <p188:author id="{64A8B5DB-E4F7-1D4B-75F5-7416BA85B359}" name="Jael Perez" initials="JP" userId="S::Jael.Perez@baywa-re.com::bff5b187-0fd4-49bc-9acb-94c53861a53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ristin Anthes" initials="CA" lastIdx="39" clrIdx="0">
    <p:extLst>
      <p:ext uri="{19B8F6BF-5375-455C-9EA6-DF929625EA0E}">
        <p15:presenceInfo xmlns:p15="http://schemas.microsoft.com/office/powerpoint/2012/main" userId="S::Cristin.Anthes@baywa-re.com::ea11e1d3-26e6-40d5-b9aa-e7ff5a370055" providerId="AD"/>
      </p:ext>
    </p:extLst>
  </p:cmAuthor>
  <p:cmAuthor id="2" name="Malte Milbradt" initials="MM" lastIdx="1" clrIdx="1">
    <p:extLst>
      <p:ext uri="{19B8F6BF-5375-455C-9EA6-DF929625EA0E}">
        <p15:presenceInfo xmlns:p15="http://schemas.microsoft.com/office/powerpoint/2012/main" userId="S-1-5-21-2900290652-3162160026-1438150922-2374" providerId="AD"/>
      </p:ext>
    </p:extLst>
  </p:cmAuthor>
  <p:cmAuthor id="3" name="Stephan Braig" initials="SB" lastIdx="17" clrIdx="2">
    <p:extLst>
      <p:ext uri="{19B8F6BF-5375-455C-9EA6-DF929625EA0E}">
        <p15:presenceInfo xmlns:p15="http://schemas.microsoft.com/office/powerpoint/2012/main" userId="S::Stephan.Braig@baywa-re.com::40814218-c589-4c60-98a1-5859b8119097" providerId="AD"/>
      </p:ext>
    </p:extLst>
  </p:cmAuthor>
  <p:cmAuthor id="4" name="Felix Gmelin" initials="FG" lastIdx="8" clrIdx="3">
    <p:extLst>
      <p:ext uri="{19B8F6BF-5375-455C-9EA6-DF929625EA0E}">
        <p15:presenceInfo xmlns:p15="http://schemas.microsoft.com/office/powerpoint/2012/main" userId="S::Felix.Gmelin@baywa-re.com::47c8c3b8-9813-4285-b0cd-0e02a2901752" providerId="AD"/>
      </p:ext>
    </p:extLst>
  </p:cmAuthor>
  <p:cmAuthor id="5" name="Suzanne Bennett" initials="SB" lastIdx="3" clrIdx="4">
    <p:extLst>
      <p:ext uri="{19B8F6BF-5375-455C-9EA6-DF929625EA0E}">
        <p15:presenceInfo xmlns:p15="http://schemas.microsoft.com/office/powerpoint/2012/main" userId="dab583a18c4a488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C64D"/>
    <a:srgbClr val="7CBA15"/>
    <a:srgbClr val="FFFFFF"/>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5A241D-5968-4284-B4B6-3DC2883159C2}" v="93" dt="2024-09-03T12:26:11.617"/>
  </p1510:revLst>
</p1510:revInfo>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386" autoAdjust="0"/>
  </p:normalViewPr>
  <p:slideViewPr>
    <p:cSldViewPr snapToGrid="0">
      <p:cViewPr varScale="1">
        <p:scale>
          <a:sx n="46" d="100"/>
          <a:sy n="46" d="100"/>
        </p:scale>
        <p:origin x="956" y="24"/>
      </p:cViewPr>
      <p:guideLst>
        <p:guide orient="horz" pos="2636"/>
        <p:guide pos="1164"/>
        <p:guide orient="horz" pos="2954"/>
        <p:guide orient="horz" pos="2183"/>
        <p:guide orient="horz" pos="1911"/>
        <p:guide orient="horz" pos="1752"/>
        <p:guide pos="3296"/>
        <p:guide pos="1255"/>
      </p:guideLst>
    </p:cSldViewPr>
  </p:slideViewPr>
  <p:notesTextViewPr>
    <p:cViewPr>
      <p:scale>
        <a:sx n="1" d="1"/>
        <a:sy n="1" d="1"/>
      </p:scale>
      <p:origin x="0" y="0"/>
    </p:cViewPr>
  </p:notesTextViewPr>
  <p:notesViewPr>
    <p:cSldViewPr snapToGrid="0">
      <p:cViewPr>
        <p:scale>
          <a:sx n="1" d="2"/>
          <a:sy n="1" d="2"/>
        </p:scale>
        <p:origin x="0" y="0"/>
      </p:cViewPr>
      <p:guideLst>
        <p:guide orient="horz" pos="3110"/>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ea Paraschiv" userId="a9add99a-823d-48e8-a331-b66eb867776f" providerId="ADAL" clId="{035A241D-5968-4284-B4B6-3DC2883159C2}"/>
    <pc:docChg chg="undo redo custSel addSld delSld modSld sldOrd modMainMaster modSection">
      <pc:chgData name="Andreea Paraschiv" userId="a9add99a-823d-48e8-a331-b66eb867776f" providerId="ADAL" clId="{035A241D-5968-4284-B4B6-3DC2883159C2}" dt="2024-09-03T12:26:53.373" v="814" actId="20577"/>
      <pc:docMkLst>
        <pc:docMk/>
      </pc:docMkLst>
      <pc:sldChg chg="modSp mod ord">
        <pc:chgData name="Andreea Paraschiv" userId="a9add99a-823d-48e8-a331-b66eb867776f" providerId="ADAL" clId="{035A241D-5968-4284-B4B6-3DC2883159C2}" dt="2024-09-03T12:08:22.660" v="808" actId="20577"/>
        <pc:sldMkLst>
          <pc:docMk/>
          <pc:sldMk cId="3233845122" sldId="290"/>
        </pc:sldMkLst>
        <pc:spChg chg="mod">
          <ac:chgData name="Andreea Paraschiv" userId="a9add99a-823d-48e8-a331-b66eb867776f" providerId="ADAL" clId="{035A241D-5968-4284-B4B6-3DC2883159C2}" dt="2024-09-03T09:34:42.320" v="287"/>
          <ac:spMkLst>
            <pc:docMk/>
            <pc:sldMk cId="3233845122" sldId="290"/>
            <ac:spMk id="3" creationId="{4718BD8C-01E7-469D-84F0-58AB0877BC8B}"/>
          </ac:spMkLst>
        </pc:spChg>
        <pc:spChg chg="mod">
          <ac:chgData name="Andreea Paraschiv" userId="a9add99a-823d-48e8-a331-b66eb867776f" providerId="ADAL" clId="{035A241D-5968-4284-B4B6-3DC2883159C2}" dt="2024-09-03T12:08:22.660" v="808" actId="20577"/>
          <ac:spMkLst>
            <pc:docMk/>
            <pc:sldMk cId="3233845122" sldId="290"/>
            <ac:spMk id="8" creationId="{6F1CC5EF-D243-4D82-8F8C-AF158ACBD1D2}"/>
          </ac:spMkLst>
        </pc:spChg>
        <pc:spChg chg="mod">
          <ac:chgData name="Andreea Paraschiv" userId="a9add99a-823d-48e8-a331-b66eb867776f" providerId="ADAL" clId="{035A241D-5968-4284-B4B6-3DC2883159C2}" dt="2024-09-03T09:34:42.320" v="287"/>
          <ac:spMkLst>
            <pc:docMk/>
            <pc:sldMk cId="3233845122" sldId="290"/>
            <ac:spMk id="29" creationId="{05867EA5-CE9A-9CE9-744E-F0217DDA2C1F}"/>
          </ac:spMkLst>
        </pc:spChg>
      </pc:sldChg>
      <pc:sldChg chg="del">
        <pc:chgData name="Andreea Paraschiv" userId="a9add99a-823d-48e8-a331-b66eb867776f" providerId="ADAL" clId="{035A241D-5968-4284-B4B6-3DC2883159C2}" dt="2024-09-03T08:02:12.190" v="101" actId="2696"/>
        <pc:sldMkLst>
          <pc:docMk/>
          <pc:sldMk cId="104527971" sldId="297"/>
        </pc:sldMkLst>
      </pc:sldChg>
      <pc:sldChg chg="modSp">
        <pc:chgData name="Andreea Paraschiv" userId="a9add99a-823d-48e8-a331-b66eb867776f" providerId="ADAL" clId="{035A241D-5968-4284-B4B6-3DC2883159C2}" dt="2024-09-03T09:34:42.320" v="287"/>
        <pc:sldMkLst>
          <pc:docMk/>
          <pc:sldMk cId="696061091" sldId="556"/>
        </pc:sldMkLst>
        <pc:spChg chg="mod">
          <ac:chgData name="Andreea Paraschiv" userId="a9add99a-823d-48e8-a331-b66eb867776f" providerId="ADAL" clId="{035A241D-5968-4284-B4B6-3DC2883159C2}" dt="2024-09-03T09:34:42.320" v="287"/>
          <ac:spMkLst>
            <pc:docMk/>
            <pc:sldMk cId="696061091" sldId="556"/>
            <ac:spMk id="2" creationId="{AAF1A09C-1BEE-4A31-B9DC-FBA661C37461}"/>
          </ac:spMkLst>
        </pc:spChg>
        <pc:spChg chg="mod">
          <ac:chgData name="Andreea Paraschiv" userId="a9add99a-823d-48e8-a331-b66eb867776f" providerId="ADAL" clId="{035A241D-5968-4284-B4B6-3DC2883159C2}" dt="2024-09-03T09:34:42.320" v="287"/>
          <ac:spMkLst>
            <pc:docMk/>
            <pc:sldMk cId="696061091" sldId="556"/>
            <ac:spMk id="4" creationId="{94DB2F74-32FA-4ECA-A7A3-99EE90DE86AD}"/>
          </ac:spMkLst>
        </pc:spChg>
      </pc:sldChg>
      <pc:sldChg chg="del">
        <pc:chgData name="Andreea Paraschiv" userId="a9add99a-823d-48e8-a331-b66eb867776f" providerId="ADAL" clId="{035A241D-5968-4284-B4B6-3DC2883159C2}" dt="2024-09-03T08:02:04.212" v="99" actId="2696"/>
        <pc:sldMkLst>
          <pc:docMk/>
          <pc:sldMk cId="3172334915" sldId="684"/>
        </pc:sldMkLst>
      </pc:sldChg>
      <pc:sldChg chg="modSp mod">
        <pc:chgData name="Andreea Paraschiv" userId="a9add99a-823d-48e8-a331-b66eb867776f" providerId="ADAL" clId="{035A241D-5968-4284-B4B6-3DC2883159C2}" dt="2024-09-03T09:34:42.320" v="287"/>
        <pc:sldMkLst>
          <pc:docMk/>
          <pc:sldMk cId="2918566256" sldId="936"/>
        </pc:sldMkLst>
        <pc:spChg chg="mod">
          <ac:chgData name="Andreea Paraschiv" userId="a9add99a-823d-48e8-a331-b66eb867776f" providerId="ADAL" clId="{035A241D-5968-4284-B4B6-3DC2883159C2}" dt="2024-09-03T09:34:42.320" v="287"/>
          <ac:spMkLst>
            <pc:docMk/>
            <pc:sldMk cId="2918566256" sldId="936"/>
            <ac:spMk id="2" creationId="{462D3B53-9E35-4373-AA2B-17767CC121A2}"/>
          </ac:spMkLst>
        </pc:spChg>
        <pc:spChg chg="mod">
          <ac:chgData name="Andreea Paraschiv" userId="a9add99a-823d-48e8-a331-b66eb867776f" providerId="ADAL" clId="{035A241D-5968-4284-B4B6-3DC2883159C2}" dt="2024-09-03T09:34:42.320" v="287"/>
          <ac:spMkLst>
            <pc:docMk/>
            <pc:sldMk cId="2918566256" sldId="936"/>
            <ac:spMk id="3" creationId="{54805740-51B3-4FD1-8401-8DF6B0A5D061}"/>
          </ac:spMkLst>
        </pc:spChg>
        <pc:spChg chg="mod">
          <ac:chgData name="Andreea Paraschiv" userId="a9add99a-823d-48e8-a331-b66eb867776f" providerId="ADAL" clId="{035A241D-5968-4284-B4B6-3DC2883159C2}" dt="2024-09-03T09:34:42.320" v="287"/>
          <ac:spMkLst>
            <pc:docMk/>
            <pc:sldMk cId="2918566256" sldId="936"/>
            <ac:spMk id="8" creationId="{00000000-0000-0000-0000-000000000000}"/>
          </ac:spMkLst>
        </pc:spChg>
      </pc:sldChg>
      <pc:sldChg chg="delSp modSp add del mod setBg modNotesTx">
        <pc:chgData name="Andreea Paraschiv" userId="a9add99a-823d-48e8-a331-b66eb867776f" providerId="ADAL" clId="{035A241D-5968-4284-B4B6-3DC2883159C2}" dt="2024-09-03T09:42:27.530" v="363" actId="2696"/>
        <pc:sldMkLst>
          <pc:docMk/>
          <pc:sldMk cId="1610088706" sldId="1441"/>
        </pc:sldMkLst>
        <pc:spChg chg="del mod">
          <ac:chgData name="Andreea Paraschiv" userId="a9add99a-823d-48e8-a331-b66eb867776f" providerId="ADAL" clId="{035A241D-5968-4284-B4B6-3DC2883159C2}" dt="2024-09-03T09:39:51.371" v="360" actId="478"/>
          <ac:spMkLst>
            <pc:docMk/>
            <pc:sldMk cId="1610088706" sldId="1441"/>
            <ac:spMk id="2" creationId="{50ED5FA6-F7F1-4822-BE61-FE5B8A182B96}"/>
          </ac:spMkLst>
        </pc:spChg>
        <pc:spChg chg="mod">
          <ac:chgData name="Andreea Paraschiv" userId="a9add99a-823d-48e8-a331-b66eb867776f" providerId="ADAL" clId="{035A241D-5968-4284-B4B6-3DC2883159C2}" dt="2024-09-03T09:36:03.073" v="342" actId="207"/>
          <ac:spMkLst>
            <pc:docMk/>
            <pc:sldMk cId="1610088706" sldId="1441"/>
            <ac:spMk id="4" creationId="{80C2299F-6944-E866-4E1B-C8DA96C0F848}"/>
          </ac:spMkLst>
        </pc:spChg>
        <pc:spChg chg="mod">
          <ac:chgData name="Andreea Paraschiv" userId="a9add99a-823d-48e8-a331-b66eb867776f" providerId="ADAL" clId="{035A241D-5968-4284-B4B6-3DC2883159C2}" dt="2024-09-03T09:32:29.783" v="223" actId="1076"/>
          <ac:spMkLst>
            <pc:docMk/>
            <pc:sldMk cId="1610088706" sldId="1441"/>
            <ac:spMk id="11" creationId="{A1E7EFC5-D51E-4212-BCB0-C023B7585C5C}"/>
          </ac:spMkLst>
        </pc:spChg>
        <pc:spChg chg="del">
          <ac:chgData name="Andreea Paraschiv" userId="a9add99a-823d-48e8-a331-b66eb867776f" providerId="ADAL" clId="{035A241D-5968-4284-B4B6-3DC2883159C2}" dt="2024-09-03T09:29:15.348" v="112" actId="478"/>
          <ac:spMkLst>
            <pc:docMk/>
            <pc:sldMk cId="1610088706" sldId="1441"/>
            <ac:spMk id="12" creationId="{DD8A9AC4-81D0-4DC6-B4C2-9853692CAF91}"/>
          </ac:spMkLst>
        </pc:spChg>
        <pc:spChg chg="del mod">
          <ac:chgData name="Andreea Paraschiv" userId="a9add99a-823d-48e8-a331-b66eb867776f" providerId="ADAL" clId="{035A241D-5968-4284-B4B6-3DC2883159C2}" dt="2024-09-03T09:39:58.449" v="361" actId="478"/>
          <ac:spMkLst>
            <pc:docMk/>
            <pc:sldMk cId="1610088706" sldId="1441"/>
            <ac:spMk id="13" creationId="{EF37D487-DB64-40A6-9010-06708F3D3465}"/>
          </ac:spMkLst>
        </pc:spChg>
        <pc:spChg chg="mod">
          <ac:chgData name="Andreea Paraschiv" userId="a9add99a-823d-48e8-a331-b66eb867776f" providerId="ADAL" clId="{035A241D-5968-4284-B4B6-3DC2883159C2}" dt="2024-09-03T09:36:44.983" v="350" actId="1076"/>
          <ac:spMkLst>
            <pc:docMk/>
            <pc:sldMk cId="1610088706" sldId="1441"/>
            <ac:spMk id="16" creationId="{5F15FB45-AE69-40C1-9D92-B43C8FF90672}"/>
          </ac:spMkLst>
        </pc:spChg>
        <pc:spChg chg="mod">
          <ac:chgData name="Andreea Paraschiv" userId="a9add99a-823d-48e8-a331-b66eb867776f" providerId="ADAL" clId="{035A241D-5968-4284-B4B6-3DC2883159C2}" dt="2024-09-03T09:36:03.073" v="342" actId="207"/>
          <ac:spMkLst>
            <pc:docMk/>
            <pc:sldMk cId="1610088706" sldId="1441"/>
            <ac:spMk id="18" creationId="{08960A35-262C-46EC-A59E-A1CECAAFF2A9}"/>
          </ac:spMkLst>
        </pc:spChg>
        <pc:spChg chg="mod">
          <ac:chgData name="Andreea Paraschiv" userId="a9add99a-823d-48e8-a331-b66eb867776f" providerId="ADAL" clId="{035A241D-5968-4284-B4B6-3DC2883159C2}" dt="2024-09-03T09:36:24.485" v="347" actId="207"/>
          <ac:spMkLst>
            <pc:docMk/>
            <pc:sldMk cId="1610088706" sldId="1441"/>
            <ac:spMk id="20" creationId="{E2A0BD22-CF46-49A8-9EB7-73B84BF56D61}"/>
          </ac:spMkLst>
        </pc:spChg>
        <pc:spChg chg="mod">
          <ac:chgData name="Andreea Paraschiv" userId="a9add99a-823d-48e8-a331-b66eb867776f" providerId="ADAL" clId="{035A241D-5968-4284-B4B6-3DC2883159C2}" dt="2024-09-03T09:36:03.073" v="342" actId="207"/>
          <ac:spMkLst>
            <pc:docMk/>
            <pc:sldMk cId="1610088706" sldId="1441"/>
            <ac:spMk id="23" creationId="{55AB5321-664A-45E0-A87F-F7AE89E72CD2}"/>
          </ac:spMkLst>
        </pc:spChg>
        <pc:spChg chg="mod">
          <ac:chgData name="Andreea Paraschiv" userId="a9add99a-823d-48e8-a331-b66eb867776f" providerId="ADAL" clId="{035A241D-5968-4284-B4B6-3DC2883159C2}" dt="2024-09-03T09:36:03.073" v="342" actId="207"/>
          <ac:spMkLst>
            <pc:docMk/>
            <pc:sldMk cId="1610088706" sldId="1441"/>
            <ac:spMk id="25" creationId="{050D3CEE-0671-4BD5-B1D5-8C805AEE17E0}"/>
          </ac:spMkLst>
        </pc:spChg>
        <pc:spChg chg="mod">
          <ac:chgData name="Andreea Paraschiv" userId="a9add99a-823d-48e8-a331-b66eb867776f" providerId="ADAL" clId="{035A241D-5968-4284-B4B6-3DC2883159C2}" dt="2024-09-03T09:36:03.073" v="342" actId="207"/>
          <ac:spMkLst>
            <pc:docMk/>
            <pc:sldMk cId="1610088706" sldId="1441"/>
            <ac:spMk id="27" creationId="{2E6B9BDC-51CB-4403-92CF-76AF1FB80C10}"/>
          </ac:spMkLst>
        </pc:spChg>
        <pc:spChg chg="mod">
          <ac:chgData name="Andreea Paraschiv" userId="a9add99a-823d-48e8-a331-b66eb867776f" providerId="ADAL" clId="{035A241D-5968-4284-B4B6-3DC2883159C2}" dt="2024-09-03T09:36:03.073" v="342" actId="207"/>
          <ac:spMkLst>
            <pc:docMk/>
            <pc:sldMk cId="1610088706" sldId="1441"/>
            <ac:spMk id="30" creationId="{B49B4B69-4380-4BD7-B562-6758D26EAF27}"/>
          </ac:spMkLst>
        </pc:spChg>
        <pc:spChg chg="mod">
          <ac:chgData name="Andreea Paraschiv" userId="a9add99a-823d-48e8-a331-b66eb867776f" providerId="ADAL" clId="{035A241D-5968-4284-B4B6-3DC2883159C2}" dt="2024-09-03T09:34:42.320" v="287"/>
          <ac:spMkLst>
            <pc:docMk/>
            <pc:sldMk cId="1610088706" sldId="1441"/>
            <ac:spMk id="35" creationId="{E598CCA1-0147-4C58-80DB-EC3B1715F740}"/>
          </ac:spMkLst>
        </pc:spChg>
        <pc:graphicFrameChg chg="mod">
          <ac:chgData name="Andreea Paraschiv" userId="a9add99a-823d-48e8-a331-b66eb867776f" providerId="ADAL" clId="{035A241D-5968-4284-B4B6-3DC2883159C2}" dt="2024-09-03T09:36:13.432" v="345" actId="207"/>
          <ac:graphicFrameMkLst>
            <pc:docMk/>
            <pc:sldMk cId="1610088706" sldId="1441"/>
            <ac:graphicFrameMk id="29" creationId="{19420774-8ECF-40F3-ADE8-C93D65D2C34D}"/>
          </ac:graphicFrameMkLst>
        </pc:graphicFrameChg>
      </pc:sldChg>
      <pc:sldChg chg="del">
        <pc:chgData name="Andreea Paraschiv" userId="a9add99a-823d-48e8-a331-b66eb867776f" providerId="ADAL" clId="{035A241D-5968-4284-B4B6-3DC2883159C2}" dt="2024-09-03T08:01:32.967" v="73" actId="2696"/>
        <pc:sldMkLst>
          <pc:docMk/>
          <pc:sldMk cId="787641418" sldId="1442"/>
        </pc:sldMkLst>
      </pc:sldChg>
      <pc:sldChg chg="del">
        <pc:chgData name="Andreea Paraschiv" userId="a9add99a-823d-48e8-a331-b66eb867776f" providerId="ADAL" clId="{035A241D-5968-4284-B4B6-3DC2883159C2}" dt="2024-09-03T08:02:01.703" v="98" actId="2696"/>
        <pc:sldMkLst>
          <pc:docMk/>
          <pc:sldMk cId="455365391" sldId="1460"/>
        </pc:sldMkLst>
      </pc:sldChg>
      <pc:sldChg chg="del">
        <pc:chgData name="Andreea Paraschiv" userId="a9add99a-823d-48e8-a331-b66eb867776f" providerId="ADAL" clId="{035A241D-5968-4284-B4B6-3DC2883159C2}" dt="2024-09-03T08:02:09.703" v="100" actId="2696"/>
        <pc:sldMkLst>
          <pc:docMk/>
          <pc:sldMk cId="2463409936" sldId="1465"/>
        </pc:sldMkLst>
      </pc:sldChg>
      <pc:sldChg chg="modSp mod">
        <pc:chgData name="Andreea Paraschiv" userId="a9add99a-823d-48e8-a331-b66eb867776f" providerId="ADAL" clId="{035A241D-5968-4284-B4B6-3DC2883159C2}" dt="2024-09-03T09:34:42.320" v="287"/>
        <pc:sldMkLst>
          <pc:docMk/>
          <pc:sldMk cId="2565241695" sldId="3315"/>
        </pc:sldMkLst>
        <pc:spChg chg="mod">
          <ac:chgData name="Andreea Paraschiv" userId="a9add99a-823d-48e8-a331-b66eb867776f" providerId="ADAL" clId="{035A241D-5968-4284-B4B6-3DC2883159C2}" dt="2024-09-03T09:34:42.320" v="287"/>
          <ac:spMkLst>
            <pc:docMk/>
            <pc:sldMk cId="2565241695" sldId="3315"/>
            <ac:spMk id="2" creationId="{00000000-0000-0000-0000-000000000000}"/>
          </ac:spMkLst>
        </pc:spChg>
        <pc:spChg chg="mod">
          <ac:chgData name="Andreea Paraschiv" userId="a9add99a-823d-48e8-a331-b66eb867776f" providerId="ADAL" clId="{035A241D-5968-4284-B4B6-3DC2883159C2}" dt="2024-09-03T09:34:42.320" v="287"/>
          <ac:spMkLst>
            <pc:docMk/>
            <pc:sldMk cId="2565241695" sldId="3315"/>
            <ac:spMk id="7" creationId="{C70008E8-F221-4D54-ADEB-B4DC6382B469}"/>
          </ac:spMkLst>
        </pc:spChg>
        <pc:spChg chg="mod">
          <ac:chgData name="Andreea Paraschiv" userId="a9add99a-823d-48e8-a331-b66eb867776f" providerId="ADAL" clId="{035A241D-5968-4284-B4B6-3DC2883159C2}" dt="2024-09-03T09:34:42.320" v="287"/>
          <ac:spMkLst>
            <pc:docMk/>
            <pc:sldMk cId="2565241695" sldId="3315"/>
            <ac:spMk id="8" creationId="{82849497-41DD-467B-B701-C0AEC1F46718}"/>
          </ac:spMkLst>
        </pc:spChg>
        <pc:spChg chg="mod">
          <ac:chgData name="Andreea Paraschiv" userId="a9add99a-823d-48e8-a331-b66eb867776f" providerId="ADAL" clId="{035A241D-5968-4284-B4B6-3DC2883159C2}" dt="2024-09-03T09:34:42.320" v="287"/>
          <ac:spMkLst>
            <pc:docMk/>
            <pc:sldMk cId="2565241695" sldId="3315"/>
            <ac:spMk id="9" creationId="{92BA321E-34BF-4AD3-8496-89D2AF3762EF}"/>
          </ac:spMkLst>
        </pc:spChg>
        <pc:spChg chg="mod">
          <ac:chgData name="Andreea Paraschiv" userId="a9add99a-823d-48e8-a331-b66eb867776f" providerId="ADAL" clId="{035A241D-5968-4284-B4B6-3DC2883159C2}" dt="2024-09-03T09:34:42.320" v="287"/>
          <ac:spMkLst>
            <pc:docMk/>
            <pc:sldMk cId="2565241695" sldId="3315"/>
            <ac:spMk id="10" creationId="{1E6C7A51-3A0F-4253-BE6F-E0AF3CF58C29}"/>
          </ac:spMkLst>
        </pc:spChg>
        <pc:picChg chg="mod">
          <ac:chgData name="Andreea Paraschiv" userId="a9add99a-823d-48e8-a331-b66eb867776f" providerId="ADAL" clId="{035A241D-5968-4284-B4B6-3DC2883159C2}" dt="2024-09-03T09:34:42.320" v="287"/>
          <ac:picMkLst>
            <pc:docMk/>
            <pc:sldMk cId="2565241695" sldId="3315"/>
            <ac:picMk id="14" creationId="{90E42F03-54E9-494B-8E61-A2E16F3BD543}"/>
          </ac:picMkLst>
        </pc:picChg>
      </pc:sldChg>
      <pc:sldChg chg="modSp mod">
        <pc:chgData name="Andreea Paraschiv" userId="a9add99a-823d-48e8-a331-b66eb867776f" providerId="ADAL" clId="{035A241D-5968-4284-B4B6-3DC2883159C2}" dt="2024-09-03T09:34:42.320" v="287"/>
        <pc:sldMkLst>
          <pc:docMk/>
          <pc:sldMk cId="50087273" sldId="4337"/>
        </pc:sldMkLst>
        <pc:spChg chg="mod">
          <ac:chgData name="Andreea Paraschiv" userId="a9add99a-823d-48e8-a331-b66eb867776f" providerId="ADAL" clId="{035A241D-5968-4284-B4B6-3DC2883159C2}" dt="2024-09-03T09:34:42.320" v="287"/>
          <ac:spMkLst>
            <pc:docMk/>
            <pc:sldMk cId="50087273" sldId="4337"/>
            <ac:spMk id="7" creationId="{74E7D6E6-4B22-40C9-A62E-C1A2665CCC17}"/>
          </ac:spMkLst>
        </pc:spChg>
        <pc:spChg chg="mod">
          <ac:chgData name="Andreea Paraschiv" userId="a9add99a-823d-48e8-a331-b66eb867776f" providerId="ADAL" clId="{035A241D-5968-4284-B4B6-3DC2883159C2}" dt="2024-09-03T09:34:42.320" v="287"/>
          <ac:spMkLst>
            <pc:docMk/>
            <pc:sldMk cId="50087273" sldId="4337"/>
            <ac:spMk id="9" creationId="{F545A66B-3BEC-47A2-996D-BCD1704B03A7}"/>
          </ac:spMkLst>
        </pc:spChg>
        <pc:spChg chg="mod">
          <ac:chgData name="Andreea Paraschiv" userId="a9add99a-823d-48e8-a331-b66eb867776f" providerId="ADAL" clId="{035A241D-5968-4284-B4B6-3DC2883159C2}" dt="2024-09-03T09:34:42.320" v="287"/>
          <ac:spMkLst>
            <pc:docMk/>
            <pc:sldMk cId="50087273" sldId="4337"/>
            <ac:spMk id="104" creationId="{B3FC9479-5C16-4211-BB73-6E4279706EA0}"/>
          </ac:spMkLst>
        </pc:spChg>
        <pc:spChg chg="mod">
          <ac:chgData name="Andreea Paraschiv" userId="a9add99a-823d-48e8-a331-b66eb867776f" providerId="ADAL" clId="{035A241D-5968-4284-B4B6-3DC2883159C2}" dt="2024-09-03T09:34:42.320" v="287"/>
          <ac:spMkLst>
            <pc:docMk/>
            <pc:sldMk cId="50087273" sldId="4337"/>
            <ac:spMk id="105" creationId="{298E77B5-9AAB-46EA-987C-F5EFB2CDAB4C}"/>
          </ac:spMkLst>
        </pc:spChg>
        <pc:spChg chg="mod">
          <ac:chgData name="Andreea Paraschiv" userId="a9add99a-823d-48e8-a331-b66eb867776f" providerId="ADAL" clId="{035A241D-5968-4284-B4B6-3DC2883159C2}" dt="2024-09-03T09:34:42.320" v="287"/>
          <ac:spMkLst>
            <pc:docMk/>
            <pc:sldMk cId="50087273" sldId="4337"/>
            <ac:spMk id="106" creationId="{4DC1A9B2-6E0E-445F-AE75-D0C699A2ED12}"/>
          </ac:spMkLst>
        </pc:spChg>
        <pc:spChg chg="mod">
          <ac:chgData name="Andreea Paraschiv" userId="a9add99a-823d-48e8-a331-b66eb867776f" providerId="ADAL" clId="{035A241D-5968-4284-B4B6-3DC2883159C2}" dt="2024-09-03T09:34:42.320" v="287"/>
          <ac:spMkLst>
            <pc:docMk/>
            <pc:sldMk cId="50087273" sldId="4337"/>
            <ac:spMk id="107" creationId="{1265C0EB-A3A4-4A77-8EC6-30260052904B}"/>
          </ac:spMkLst>
        </pc:spChg>
        <pc:spChg chg="mod">
          <ac:chgData name="Andreea Paraschiv" userId="a9add99a-823d-48e8-a331-b66eb867776f" providerId="ADAL" clId="{035A241D-5968-4284-B4B6-3DC2883159C2}" dt="2024-09-03T09:34:42.320" v="287"/>
          <ac:spMkLst>
            <pc:docMk/>
            <pc:sldMk cId="50087273" sldId="4337"/>
            <ac:spMk id="108" creationId="{5BB10521-F2CD-47FF-90CA-9118EC4C39C4}"/>
          </ac:spMkLst>
        </pc:spChg>
        <pc:spChg chg="mod">
          <ac:chgData name="Andreea Paraschiv" userId="a9add99a-823d-48e8-a331-b66eb867776f" providerId="ADAL" clId="{035A241D-5968-4284-B4B6-3DC2883159C2}" dt="2024-09-03T09:34:42.320" v="287"/>
          <ac:spMkLst>
            <pc:docMk/>
            <pc:sldMk cId="50087273" sldId="4337"/>
            <ac:spMk id="109" creationId="{4AE4DEC0-F3FD-4724-A27E-4BFA9C44767A}"/>
          </ac:spMkLst>
        </pc:spChg>
        <pc:spChg chg="mod">
          <ac:chgData name="Andreea Paraschiv" userId="a9add99a-823d-48e8-a331-b66eb867776f" providerId="ADAL" clId="{035A241D-5968-4284-B4B6-3DC2883159C2}" dt="2024-09-03T09:34:42.320" v="287"/>
          <ac:spMkLst>
            <pc:docMk/>
            <pc:sldMk cId="50087273" sldId="4337"/>
            <ac:spMk id="111" creationId="{322EE2EC-B18F-4A3A-B935-8AF1B85EC6DE}"/>
          </ac:spMkLst>
        </pc:spChg>
        <pc:spChg chg="mod">
          <ac:chgData name="Andreea Paraschiv" userId="a9add99a-823d-48e8-a331-b66eb867776f" providerId="ADAL" clId="{035A241D-5968-4284-B4B6-3DC2883159C2}" dt="2024-09-03T09:34:42.320" v="287"/>
          <ac:spMkLst>
            <pc:docMk/>
            <pc:sldMk cId="50087273" sldId="4337"/>
            <ac:spMk id="112" creationId="{F6D6EF38-06D0-45BB-9414-5ABF395B5792}"/>
          </ac:spMkLst>
        </pc:spChg>
        <pc:spChg chg="mod">
          <ac:chgData name="Andreea Paraschiv" userId="a9add99a-823d-48e8-a331-b66eb867776f" providerId="ADAL" clId="{035A241D-5968-4284-B4B6-3DC2883159C2}" dt="2024-09-03T09:34:42.320" v="287"/>
          <ac:spMkLst>
            <pc:docMk/>
            <pc:sldMk cId="50087273" sldId="4337"/>
            <ac:spMk id="113" creationId="{74F5522A-4C0F-4A17-A403-B2052BEC6B26}"/>
          </ac:spMkLst>
        </pc:spChg>
        <pc:spChg chg="mod">
          <ac:chgData name="Andreea Paraschiv" userId="a9add99a-823d-48e8-a331-b66eb867776f" providerId="ADAL" clId="{035A241D-5968-4284-B4B6-3DC2883159C2}" dt="2024-09-03T09:34:42.320" v="287"/>
          <ac:spMkLst>
            <pc:docMk/>
            <pc:sldMk cId="50087273" sldId="4337"/>
            <ac:spMk id="122" creationId="{7A542E72-3F9A-4DEB-93F1-F58A5F3CEE99}"/>
          </ac:spMkLst>
        </pc:spChg>
        <pc:spChg chg="mod">
          <ac:chgData name="Andreea Paraschiv" userId="a9add99a-823d-48e8-a331-b66eb867776f" providerId="ADAL" clId="{035A241D-5968-4284-B4B6-3DC2883159C2}" dt="2024-09-03T09:34:42.320" v="287"/>
          <ac:spMkLst>
            <pc:docMk/>
            <pc:sldMk cId="50087273" sldId="4337"/>
            <ac:spMk id="123" creationId="{5A1C0A98-D715-48A6-A07A-9FFF0EB65FE3}"/>
          </ac:spMkLst>
        </pc:spChg>
        <pc:spChg chg="mod">
          <ac:chgData name="Andreea Paraschiv" userId="a9add99a-823d-48e8-a331-b66eb867776f" providerId="ADAL" clId="{035A241D-5968-4284-B4B6-3DC2883159C2}" dt="2024-09-03T09:34:42.320" v="287"/>
          <ac:spMkLst>
            <pc:docMk/>
            <pc:sldMk cId="50087273" sldId="4337"/>
            <ac:spMk id="124" creationId="{B3F07159-67DD-46E0-B0F8-5A5152D93FD9}"/>
          </ac:spMkLst>
        </pc:spChg>
      </pc:sldChg>
      <pc:sldChg chg="modSp mod">
        <pc:chgData name="Andreea Paraschiv" userId="a9add99a-823d-48e8-a331-b66eb867776f" providerId="ADAL" clId="{035A241D-5968-4284-B4B6-3DC2883159C2}" dt="2024-09-03T09:34:42.320" v="287"/>
        <pc:sldMkLst>
          <pc:docMk/>
          <pc:sldMk cId="462754874" sldId="4349"/>
        </pc:sldMkLst>
        <pc:spChg chg="mod">
          <ac:chgData name="Andreea Paraschiv" userId="a9add99a-823d-48e8-a331-b66eb867776f" providerId="ADAL" clId="{035A241D-5968-4284-B4B6-3DC2883159C2}" dt="2024-09-03T09:34:42.320" v="287"/>
          <ac:spMkLst>
            <pc:docMk/>
            <pc:sldMk cId="462754874" sldId="4349"/>
            <ac:spMk id="2" creationId="{561A18EB-3727-41E9-8A6D-56EF05892F44}"/>
          </ac:spMkLst>
        </pc:spChg>
        <pc:spChg chg="mod">
          <ac:chgData name="Andreea Paraschiv" userId="a9add99a-823d-48e8-a331-b66eb867776f" providerId="ADAL" clId="{035A241D-5968-4284-B4B6-3DC2883159C2}" dt="2024-09-03T09:34:42.320" v="287"/>
          <ac:spMkLst>
            <pc:docMk/>
            <pc:sldMk cId="462754874" sldId="4349"/>
            <ac:spMk id="19" creationId="{FAD4C843-4A33-2CB0-3E72-F40E96350FF9}"/>
          </ac:spMkLst>
        </pc:spChg>
        <pc:spChg chg="mod">
          <ac:chgData name="Andreea Paraschiv" userId="a9add99a-823d-48e8-a331-b66eb867776f" providerId="ADAL" clId="{035A241D-5968-4284-B4B6-3DC2883159C2}" dt="2024-09-03T09:34:42.320" v="287"/>
          <ac:spMkLst>
            <pc:docMk/>
            <pc:sldMk cId="462754874" sldId="4349"/>
            <ac:spMk id="23" creationId="{9E4DA89C-728E-754F-0C2A-212A452D0D1F}"/>
          </ac:spMkLst>
        </pc:spChg>
        <pc:spChg chg="mod">
          <ac:chgData name="Andreea Paraschiv" userId="a9add99a-823d-48e8-a331-b66eb867776f" providerId="ADAL" clId="{035A241D-5968-4284-B4B6-3DC2883159C2}" dt="2024-09-03T09:34:42.320" v="287"/>
          <ac:spMkLst>
            <pc:docMk/>
            <pc:sldMk cId="462754874" sldId="4349"/>
            <ac:spMk id="24" creationId="{313A5287-4814-7546-01DC-45A3A152A92E}"/>
          </ac:spMkLst>
        </pc:spChg>
        <pc:spChg chg="mod">
          <ac:chgData name="Andreea Paraschiv" userId="a9add99a-823d-48e8-a331-b66eb867776f" providerId="ADAL" clId="{035A241D-5968-4284-B4B6-3DC2883159C2}" dt="2024-09-03T09:34:42.320" v="287"/>
          <ac:spMkLst>
            <pc:docMk/>
            <pc:sldMk cId="462754874" sldId="4349"/>
            <ac:spMk id="25" creationId="{75D02565-60DA-E876-08C6-1273B55680E0}"/>
          </ac:spMkLst>
        </pc:spChg>
        <pc:picChg chg="mod">
          <ac:chgData name="Andreea Paraschiv" userId="a9add99a-823d-48e8-a331-b66eb867776f" providerId="ADAL" clId="{035A241D-5968-4284-B4B6-3DC2883159C2}" dt="2024-09-03T09:34:42.320" v="287"/>
          <ac:picMkLst>
            <pc:docMk/>
            <pc:sldMk cId="462754874" sldId="4349"/>
            <ac:picMk id="27" creationId="{AC02CB50-054E-732B-EE14-3EA79DA00E2D}"/>
          </ac:picMkLst>
        </pc:picChg>
      </pc:sldChg>
      <pc:sldChg chg="modSp mod">
        <pc:chgData name="Andreea Paraschiv" userId="a9add99a-823d-48e8-a331-b66eb867776f" providerId="ADAL" clId="{035A241D-5968-4284-B4B6-3DC2883159C2}" dt="2024-09-03T09:34:42.320" v="287"/>
        <pc:sldMkLst>
          <pc:docMk/>
          <pc:sldMk cId="1662895287" sldId="4361"/>
        </pc:sldMkLst>
        <pc:spChg chg="mod">
          <ac:chgData name="Andreea Paraschiv" userId="a9add99a-823d-48e8-a331-b66eb867776f" providerId="ADAL" clId="{035A241D-5968-4284-B4B6-3DC2883159C2}" dt="2024-09-03T09:34:42.320" v="287"/>
          <ac:spMkLst>
            <pc:docMk/>
            <pc:sldMk cId="1662895287" sldId="4361"/>
            <ac:spMk id="3" creationId="{47DA07A7-1FE7-21AC-3F06-45DE26309CDF}"/>
          </ac:spMkLst>
        </pc:spChg>
        <pc:spChg chg="mod">
          <ac:chgData name="Andreea Paraschiv" userId="a9add99a-823d-48e8-a331-b66eb867776f" providerId="ADAL" clId="{035A241D-5968-4284-B4B6-3DC2883159C2}" dt="2024-09-03T09:34:42.320" v="287"/>
          <ac:spMkLst>
            <pc:docMk/>
            <pc:sldMk cId="1662895287" sldId="4361"/>
            <ac:spMk id="4" creationId="{BFEB6A36-BBB7-9DFF-23C2-599A526A55D9}"/>
          </ac:spMkLst>
        </pc:spChg>
        <pc:spChg chg="mod">
          <ac:chgData name="Andreea Paraschiv" userId="a9add99a-823d-48e8-a331-b66eb867776f" providerId="ADAL" clId="{035A241D-5968-4284-B4B6-3DC2883159C2}" dt="2024-09-03T09:34:42.320" v="287"/>
          <ac:spMkLst>
            <pc:docMk/>
            <pc:sldMk cId="1662895287" sldId="4361"/>
            <ac:spMk id="5" creationId="{B15035B8-8A71-2611-3A11-52985953681E}"/>
          </ac:spMkLst>
        </pc:spChg>
        <pc:spChg chg="mod">
          <ac:chgData name="Andreea Paraschiv" userId="a9add99a-823d-48e8-a331-b66eb867776f" providerId="ADAL" clId="{035A241D-5968-4284-B4B6-3DC2883159C2}" dt="2024-09-03T09:34:42.320" v="287"/>
          <ac:spMkLst>
            <pc:docMk/>
            <pc:sldMk cId="1662895287" sldId="4361"/>
            <ac:spMk id="6" creationId="{787C5476-C00E-1A29-A2E7-D211BE77B42C}"/>
          </ac:spMkLst>
        </pc:spChg>
        <pc:spChg chg="mod">
          <ac:chgData name="Andreea Paraschiv" userId="a9add99a-823d-48e8-a331-b66eb867776f" providerId="ADAL" clId="{035A241D-5968-4284-B4B6-3DC2883159C2}" dt="2024-09-03T09:34:42.320" v="287"/>
          <ac:spMkLst>
            <pc:docMk/>
            <pc:sldMk cId="1662895287" sldId="4361"/>
            <ac:spMk id="7" creationId="{05496DBA-2C75-5137-374F-8D601E31DEF3}"/>
          </ac:spMkLst>
        </pc:spChg>
        <pc:spChg chg="mod">
          <ac:chgData name="Andreea Paraschiv" userId="a9add99a-823d-48e8-a331-b66eb867776f" providerId="ADAL" clId="{035A241D-5968-4284-B4B6-3DC2883159C2}" dt="2024-09-03T09:34:42.320" v="287"/>
          <ac:spMkLst>
            <pc:docMk/>
            <pc:sldMk cId="1662895287" sldId="4361"/>
            <ac:spMk id="8" creationId="{69F98D14-8D6A-43FE-A2BD-3F366551DFA2}"/>
          </ac:spMkLst>
        </pc:spChg>
        <pc:spChg chg="mod">
          <ac:chgData name="Andreea Paraschiv" userId="a9add99a-823d-48e8-a331-b66eb867776f" providerId="ADAL" clId="{035A241D-5968-4284-B4B6-3DC2883159C2}" dt="2024-09-03T09:34:42.320" v="287"/>
          <ac:spMkLst>
            <pc:docMk/>
            <pc:sldMk cId="1662895287" sldId="4361"/>
            <ac:spMk id="9" creationId="{12170301-E964-7D93-EC3B-6CAA8E706764}"/>
          </ac:spMkLst>
        </pc:spChg>
      </pc:sldChg>
      <pc:sldChg chg="modSp add del mod ord">
        <pc:chgData name="Andreea Paraschiv" userId="a9add99a-823d-48e8-a331-b66eb867776f" providerId="ADAL" clId="{035A241D-5968-4284-B4B6-3DC2883159C2}" dt="2024-09-03T11:58:43.387" v="565"/>
        <pc:sldMkLst>
          <pc:docMk/>
          <pc:sldMk cId="2599557543" sldId="4364"/>
        </pc:sldMkLst>
        <pc:spChg chg="mod">
          <ac:chgData name="Andreea Paraschiv" userId="a9add99a-823d-48e8-a331-b66eb867776f" providerId="ADAL" clId="{035A241D-5968-4284-B4B6-3DC2883159C2}" dt="2024-09-03T11:56:49.290" v="557" actId="20577"/>
          <ac:spMkLst>
            <pc:docMk/>
            <pc:sldMk cId="2599557543" sldId="4364"/>
            <ac:spMk id="80" creationId="{5D936E7C-8BAF-4443-AF1D-094DE1163284}"/>
          </ac:spMkLst>
        </pc:spChg>
      </pc:sldChg>
      <pc:sldChg chg="modSp add del mod ord">
        <pc:chgData name="Andreea Paraschiv" userId="a9add99a-823d-48e8-a331-b66eb867776f" providerId="ADAL" clId="{035A241D-5968-4284-B4B6-3DC2883159C2}" dt="2024-09-03T11:58:43.387" v="565"/>
        <pc:sldMkLst>
          <pc:docMk/>
          <pc:sldMk cId="3615555252" sldId="4365"/>
        </pc:sldMkLst>
        <pc:spChg chg="mod">
          <ac:chgData name="Andreea Paraschiv" userId="a9add99a-823d-48e8-a331-b66eb867776f" providerId="ADAL" clId="{035A241D-5968-4284-B4B6-3DC2883159C2}" dt="2024-09-03T11:56:52.754" v="559" actId="20577"/>
          <ac:spMkLst>
            <pc:docMk/>
            <pc:sldMk cId="3615555252" sldId="4365"/>
            <ac:spMk id="80" creationId="{5D936E7C-8BAF-4443-AF1D-094DE1163284}"/>
          </ac:spMkLst>
        </pc:spChg>
      </pc:sldChg>
      <pc:sldChg chg="modSp add del mod ord">
        <pc:chgData name="Andreea Paraschiv" userId="a9add99a-823d-48e8-a331-b66eb867776f" providerId="ADAL" clId="{035A241D-5968-4284-B4B6-3DC2883159C2}" dt="2024-09-03T11:58:43.387" v="565"/>
        <pc:sldMkLst>
          <pc:docMk/>
          <pc:sldMk cId="3759065774" sldId="4366"/>
        </pc:sldMkLst>
        <pc:spChg chg="mod">
          <ac:chgData name="Andreea Paraschiv" userId="a9add99a-823d-48e8-a331-b66eb867776f" providerId="ADAL" clId="{035A241D-5968-4284-B4B6-3DC2883159C2}" dt="2024-09-03T11:56:46.323" v="555" actId="20577"/>
          <ac:spMkLst>
            <pc:docMk/>
            <pc:sldMk cId="3759065774" sldId="4366"/>
            <ac:spMk id="80" creationId="{5D936E7C-8BAF-4443-AF1D-094DE1163284}"/>
          </ac:spMkLst>
        </pc:spChg>
      </pc:sldChg>
      <pc:sldChg chg="del">
        <pc:chgData name="Andreea Paraschiv" userId="a9add99a-823d-48e8-a331-b66eb867776f" providerId="ADAL" clId="{035A241D-5968-4284-B4B6-3DC2883159C2}" dt="2024-09-03T07:59:41.611" v="66" actId="2696"/>
        <pc:sldMkLst>
          <pc:docMk/>
          <pc:sldMk cId="2382684987" sldId="4378"/>
        </pc:sldMkLst>
      </pc:sldChg>
      <pc:sldChg chg="del">
        <pc:chgData name="Andreea Paraschiv" userId="a9add99a-823d-48e8-a331-b66eb867776f" providerId="ADAL" clId="{035A241D-5968-4284-B4B6-3DC2883159C2}" dt="2024-09-03T08:01:16.725" v="68" actId="2696"/>
        <pc:sldMkLst>
          <pc:docMk/>
          <pc:sldMk cId="665495443" sldId="4380"/>
        </pc:sldMkLst>
      </pc:sldChg>
      <pc:sldChg chg="del">
        <pc:chgData name="Andreea Paraschiv" userId="a9add99a-823d-48e8-a331-b66eb867776f" providerId="ADAL" clId="{035A241D-5968-4284-B4B6-3DC2883159C2}" dt="2024-09-03T08:01:30.387" v="72" actId="2696"/>
        <pc:sldMkLst>
          <pc:docMk/>
          <pc:sldMk cId="3461340223" sldId="4386"/>
        </pc:sldMkLst>
      </pc:sldChg>
      <pc:sldChg chg="del">
        <pc:chgData name="Andreea Paraschiv" userId="a9add99a-823d-48e8-a331-b66eb867776f" providerId="ADAL" clId="{035A241D-5968-4284-B4B6-3DC2883159C2}" dt="2024-09-03T08:01:13.848" v="67" actId="2696"/>
        <pc:sldMkLst>
          <pc:docMk/>
          <pc:sldMk cId="621834629" sldId="4388"/>
        </pc:sldMkLst>
      </pc:sldChg>
      <pc:sldChg chg="addSp delSp modSp del mod">
        <pc:chgData name="Andreea Paraschiv" userId="a9add99a-823d-48e8-a331-b66eb867776f" providerId="ADAL" clId="{035A241D-5968-4284-B4B6-3DC2883159C2}" dt="2024-09-03T11:58:00.204" v="561" actId="2696"/>
        <pc:sldMkLst>
          <pc:docMk/>
          <pc:sldMk cId="2355297696" sldId="9991"/>
        </pc:sldMkLst>
        <pc:spChg chg="add del mod">
          <ac:chgData name="Andreea Paraschiv" userId="a9add99a-823d-48e8-a331-b66eb867776f" providerId="ADAL" clId="{035A241D-5968-4284-B4B6-3DC2883159C2}" dt="2024-09-03T11:53:39.481" v="529" actId="478"/>
          <ac:spMkLst>
            <pc:docMk/>
            <pc:sldMk cId="2355297696" sldId="9991"/>
            <ac:spMk id="2" creationId="{4DC07900-0A27-71E6-79C9-BFC849519E63}"/>
          </ac:spMkLst>
        </pc:spChg>
        <pc:spChg chg="mod">
          <ac:chgData name="Andreea Paraschiv" userId="a9add99a-823d-48e8-a331-b66eb867776f" providerId="ADAL" clId="{035A241D-5968-4284-B4B6-3DC2883159C2}" dt="2024-09-03T09:34:42.320" v="287"/>
          <ac:spMkLst>
            <pc:docMk/>
            <pc:sldMk cId="2355297696" sldId="9991"/>
            <ac:spMk id="5" creationId="{3709FF2A-8D20-D080-2146-17B16CCA53DC}"/>
          </ac:spMkLst>
        </pc:spChg>
        <pc:spChg chg="mod">
          <ac:chgData name="Andreea Paraschiv" userId="a9add99a-823d-48e8-a331-b66eb867776f" providerId="ADAL" clId="{035A241D-5968-4284-B4B6-3DC2883159C2}" dt="2024-09-03T09:34:42.320" v="287"/>
          <ac:spMkLst>
            <pc:docMk/>
            <pc:sldMk cId="2355297696" sldId="9991"/>
            <ac:spMk id="15" creationId="{63B04BE8-CBC9-492B-AFDD-5AC1E63B4843}"/>
          </ac:spMkLst>
        </pc:spChg>
        <pc:spChg chg="mod">
          <ac:chgData name="Andreea Paraschiv" userId="a9add99a-823d-48e8-a331-b66eb867776f" providerId="ADAL" clId="{035A241D-5968-4284-B4B6-3DC2883159C2}" dt="2024-09-03T08:04:52.036" v="107" actId="1076"/>
          <ac:spMkLst>
            <pc:docMk/>
            <pc:sldMk cId="2355297696" sldId="9991"/>
            <ac:spMk id="17" creationId="{EBAD5BFB-A8E4-4CA6-AAD3-8A48E96F407E}"/>
          </ac:spMkLst>
        </pc:spChg>
        <pc:spChg chg="mod">
          <ac:chgData name="Andreea Paraschiv" userId="a9add99a-823d-48e8-a331-b66eb867776f" providerId="ADAL" clId="{035A241D-5968-4284-B4B6-3DC2883159C2}" dt="2024-09-03T08:05:18.124" v="108" actId="1076"/>
          <ac:spMkLst>
            <pc:docMk/>
            <pc:sldMk cId="2355297696" sldId="9991"/>
            <ac:spMk id="37" creationId="{4AD52ACC-1AB5-46FA-AB9F-1B4706BA0C4A}"/>
          </ac:spMkLst>
        </pc:spChg>
        <pc:picChg chg="mod">
          <ac:chgData name="Andreea Paraschiv" userId="a9add99a-823d-48e8-a331-b66eb867776f" providerId="ADAL" clId="{035A241D-5968-4284-B4B6-3DC2883159C2}" dt="2024-09-03T08:05:25.794" v="110" actId="1076"/>
          <ac:picMkLst>
            <pc:docMk/>
            <pc:sldMk cId="2355297696" sldId="9991"/>
            <ac:picMk id="10" creationId="{320398C5-3E84-5377-5EF3-0A1F565AC874}"/>
          </ac:picMkLst>
        </pc:picChg>
        <pc:cxnChg chg="del">
          <ac:chgData name="Andreea Paraschiv" userId="a9add99a-823d-48e8-a331-b66eb867776f" providerId="ADAL" clId="{035A241D-5968-4284-B4B6-3DC2883159C2}" dt="2024-09-03T08:03:31.448" v="103" actId="478"/>
          <ac:cxnSpMkLst>
            <pc:docMk/>
            <pc:sldMk cId="2355297696" sldId="9991"/>
            <ac:cxnSpMk id="7" creationId="{74AE8C53-E8B7-4598-B6C4-DD43FF7C4167}"/>
          </ac:cxnSpMkLst>
        </pc:cxnChg>
      </pc:sldChg>
      <pc:sldChg chg="modSp mod">
        <pc:chgData name="Andreea Paraschiv" userId="a9add99a-823d-48e8-a331-b66eb867776f" providerId="ADAL" clId="{035A241D-5968-4284-B4B6-3DC2883159C2}" dt="2024-09-03T12:00:46.620" v="567" actId="255"/>
        <pc:sldMkLst>
          <pc:docMk/>
          <pc:sldMk cId="3595776795" sldId="9993"/>
        </pc:sldMkLst>
        <pc:spChg chg="mod">
          <ac:chgData name="Andreea Paraschiv" userId="a9add99a-823d-48e8-a331-b66eb867776f" providerId="ADAL" clId="{035A241D-5968-4284-B4B6-3DC2883159C2}" dt="2024-09-03T09:34:42.320" v="287"/>
          <ac:spMkLst>
            <pc:docMk/>
            <pc:sldMk cId="3595776795" sldId="9993"/>
            <ac:spMk id="3" creationId="{4718BD8C-01E7-469D-84F0-58AB0877BC8B}"/>
          </ac:spMkLst>
        </pc:spChg>
        <pc:spChg chg="mod">
          <ac:chgData name="Andreea Paraschiv" userId="a9add99a-823d-48e8-a331-b66eb867776f" providerId="ADAL" clId="{035A241D-5968-4284-B4B6-3DC2883159C2}" dt="2024-09-03T12:00:46.620" v="567" actId="255"/>
          <ac:spMkLst>
            <pc:docMk/>
            <pc:sldMk cId="3595776795" sldId="9993"/>
            <ac:spMk id="8" creationId="{6F1CC5EF-D243-4D82-8F8C-AF158ACBD1D2}"/>
          </ac:spMkLst>
        </pc:spChg>
        <pc:spChg chg="mod">
          <ac:chgData name="Andreea Paraschiv" userId="a9add99a-823d-48e8-a331-b66eb867776f" providerId="ADAL" clId="{035A241D-5968-4284-B4B6-3DC2883159C2}" dt="2024-09-03T09:34:42.320" v="287"/>
          <ac:spMkLst>
            <pc:docMk/>
            <pc:sldMk cId="3595776795" sldId="9993"/>
            <ac:spMk id="29" creationId="{05867EA5-CE9A-9CE9-744E-F0217DDA2C1F}"/>
          </ac:spMkLst>
        </pc:spChg>
        <pc:spChg chg="mod">
          <ac:chgData name="Andreea Paraschiv" userId="a9add99a-823d-48e8-a331-b66eb867776f" providerId="ADAL" clId="{035A241D-5968-4284-B4B6-3DC2883159C2}" dt="2024-09-03T09:34:42.320" v="287"/>
          <ac:spMkLst>
            <pc:docMk/>
            <pc:sldMk cId="3595776795" sldId="9993"/>
            <ac:spMk id="44" creationId="{276F8747-2C56-56A2-72F5-5E09A367A920}"/>
          </ac:spMkLst>
        </pc:spChg>
      </pc:sldChg>
      <pc:sldChg chg="addSp delSp modSp add del mod modClrScheme chgLayout modNotesTx">
        <pc:chgData name="Andreea Paraschiv" userId="a9add99a-823d-48e8-a331-b66eb867776f" providerId="ADAL" clId="{035A241D-5968-4284-B4B6-3DC2883159C2}" dt="2024-09-03T12:26:41.795" v="811" actId="2696"/>
        <pc:sldMkLst>
          <pc:docMk/>
          <pc:sldMk cId="1842983701" sldId="9994"/>
        </pc:sldMkLst>
        <pc:spChg chg="mod">
          <ac:chgData name="Andreea Paraschiv" userId="a9add99a-823d-48e8-a331-b66eb867776f" providerId="ADAL" clId="{035A241D-5968-4284-B4B6-3DC2883159C2}" dt="2024-09-03T09:34:42.320" v="287"/>
          <ac:spMkLst>
            <pc:docMk/>
            <pc:sldMk cId="1842983701" sldId="9994"/>
            <ac:spMk id="3" creationId="{4718BD8C-01E7-469D-84F0-58AB0877BC8B}"/>
          </ac:spMkLst>
        </pc:spChg>
        <pc:spChg chg="add del mod">
          <ac:chgData name="Andreea Paraschiv" userId="a9add99a-823d-48e8-a331-b66eb867776f" providerId="ADAL" clId="{035A241D-5968-4284-B4B6-3DC2883159C2}" dt="2024-09-03T09:31:26.905" v="211" actId="478"/>
          <ac:spMkLst>
            <pc:docMk/>
            <pc:sldMk cId="1842983701" sldId="9994"/>
            <ac:spMk id="4" creationId="{0AA5D599-A0A6-136B-9426-4D0AB1EBF3F6}"/>
          </ac:spMkLst>
        </pc:spChg>
        <pc:spChg chg="mod">
          <ac:chgData name="Andreea Paraschiv" userId="a9add99a-823d-48e8-a331-b66eb867776f" providerId="ADAL" clId="{035A241D-5968-4284-B4B6-3DC2883159C2}" dt="2024-09-03T09:37:21.515" v="355" actId="255"/>
          <ac:spMkLst>
            <pc:docMk/>
            <pc:sldMk cId="1842983701" sldId="9994"/>
            <ac:spMk id="8" creationId="{6F1CC5EF-D243-4D82-8F8C-AF158ACBD1D2}"/>
          </ac:spMkLst>
        </pc:spChg>
        <pc:spChg chg="add mod">
          <ac:chgData name="Andreea Paraschiv" userId="a9add99a-823d-48e8-a331-b66eb867776f" providerId="ADAL" clId="{035A241D-5968-4284-B4B6-3DC2883159C2}" dt="2024-09-03T09:32:15.950" v="222" actId="207"/>
          <ac:spMkLst>
            <pc:docMk/>
            <pc:sldMk cId="1842983701" sldId="9994"/>
            <ac:spMk id="9" creationId="{77EFD5B9-C134-6224-2B21-940505A75553}"/>
          </ac:spMkLst>
        </pc:spChg>
        <pc:spChg chg="add mod">
          <ac:chgData name="Andreea Paraschiv" userId="a9add99a-823d-48e8-a331-b66eb867776f" providerId="ADAL" clId="{035A241D-5968-4284-B4B6-3DC2883159C2}" dt="2024-09-03T09:32:15.950" v="222" actId="207"/>
          <ac:spMkLst>
            <pc:docMk/>
            <pc:sldMk cId="1842983701" sldId="9994"/>
            <ac:spMk id="10" creationId="{F48C1727-191F-52A7-C35B-533A9BBB2D7A}"/>
          </ac:spMkLst>
        </pc:spChg>
        <pc:spChg chg="add mod">
          <ac:chgData name="Andreea Paraschiv" userId="a9add99a-823d-48e8-a331-b66eb867776f" providerId="ADAL" clId="{035A241D-5968-4284-B4B6-3DC2883159C2}" dt="2024-09-03T09:32:15.950" v="222" actId="207"/>
          <ac:spMkLst>
            <pc:docMk/>
            <pc:sldMk cId="1842983701" sldId="9994"/>
            <ac:spMk id="11" creationId="{BC54A913-20D7-1A5E-EFAB-BED4A865C323}"/>
          </ac:spMkLst>
        </pc:spChg>
        <pc:spChg chg="add mod">
          <ac:chgData name="Andreea Paraschiv" userId="a9add99a-823d-48e8-a331-b66eb867776f" providerId="ADAL" clId="{035A241D-5968-4284-B4B6-3DC2883159C2}" dt="2024-09-03T09:32:15.950" v="222" actId="207"/>
          <ac:spMkLst>
            <pc:docMk/>
            <pc:sldMk cId="1842983701" sldId="9994"/>
            <ac:spMk id="13" creationId="{B1FDFCD0-2AC2-56E0-4C49-6CDBDE4116D4}"/>
          </ac:spMkLst>
        </pc:spChg>
        <pc:spChg chg="add mod">
          <ac:chgData name="Andreea Paraschiv" userId="a9add99a-823d-48e8-a331-b66eb867776f" providerId="ADAL" clId="{035A241D-5968-4284-B4B6-3DC2883159C2}" dt="2024-09-03T09:32:15.950" v="222" actId="207"/>
          <ac:spMkLst>
            <pc:docMk/>
            <pc:sldMk cId="1842983701" sldId="9994"/>
            <ac:spMk id="14" creationId="{59A76C8C-C627-8A14-3C40-CC34A045A518}"/>
          </ac:spMkLst>
        </pc:spChg>
        <pc:spChg chg="add mod">
          <ac:chgData name="Andreea Paraschiv" userId="a9add99a-823d-48e8-a331-b66eb867776f" providerId="ADAL" clId="{035A241D-5968-4284-B4B6-3DC2883159C2}" dt="2024-09-03T09:32:15.950" v="222" actId="207"/>
          <ac:spMkLst>
            <pc:docMk/>
            <pc:sldMk cId="1842983701" sldId="9994"/>
            <ac:spMk id="15" creationId="{1BE97C79-421A-E40E-4841-718F80E402C5}"/>
          </ac:spMkLst>
        </pc:spChg>
        <pc:spChg chg="add mod">
          <ac:chgData name="Andreea Paraschiv" userId="a9add99a-823d-48e8-a331-b66eb867776f" providerId="ADAL" clId="{035A241D-5968-4284-B4B6-3DC2883159C2}" dt="2024-09-03T09:32:50.643" v="224"/>
          <ac:spMkLst>
            <pc:docMk/>
            <pc:sldMk cId="1842983701" sldId="9994"/>
            <ac:spMk id="18" creationId="{82B4A173-638E-86D6-60AF-282D05758597}"/>
          </ac:spMkLst>
        </pc:spChg>
        <pc:spChg chg="add mod">
          <ac:chgData name="Andreea Paraschiv" userId="a9add99a-823d-48e8-a331-b66eb867776f" providerId="ADAL" clId="{035A241D-5968-4284-B4B6-3DC2883159C2}" dt="2024-09-03T09:32:50.643" v="224"/>
          <ac:spMkLst>
            <pc:docMk/>
            <pc:sldMk cId="1842983701" sldId="9994"/>
            <ac:spMk id="19" creationId="{79321101-5984-D516-52F4-292BDD5A7182}"/>
          </ac:spMkLst>
        </pc:spChg>
        <pc:spChg chg="add mod">
          <ac:chgData name="Andreea Paraschiv" userId="a9add99a-823d-48e8-a331-b66eb867776f" providerId="ADAL" clId="{035A241D-5968-4284-B4B6-3DC2883159C2}" dt="2024-09-03T09:32:50.643" v="224"/>
          <ac:spMkLst>
            <pc:docMk/>
            <pc:sldMk cId="1842983701" sldId="9994"/>
            <ac:spMk id="20" creationId="{35274546-C6A9-3855-A765-7C5ED3F4C9F7}"/>
          </ac:spMkLst>
        </pc:spChg>
        <pc:spChg chg="add mod">
          <ac:chgData name="Andreea Paraschiv" userId="a9add99a-823d-48e8-a331-b66eb867776f" providerId="ADAL" clId="{035A241D-5968-4284-B4B6-3DC2883159C2}" dt="2024-09-03T09:32:50.643" v="224"/>
          <ac:spMkLst>
            <pc:docMk/>
            <pc:sldMk cId="1842983701" sldId="9994"/>
            <ac:spMk id="21" creationId="{07CD5A32-3497-691A-2795-9F05D37DBDD1}"/>
          </ac:spMkLst>
        </pc:spChg>
        <pc:spChg chg="add mod">
          <ac:chgData name="Andreea Paraschiv" userId="a9add99a-823d-48e8-a331-b66eb867776f" providerId="ADAL" clId="{035A241D-5968-4284-B4B6-3DC2883159C2}" dt="2024-09-03T09:32:50.643" v="224"/>
          <ac:spMkLst>
            <pc:docMk/>
            <pc:sldMk cId="1842983701" sldId="9994"/>
            <ac:spMk id="22" creationId="{7A78B5DE-A262-072F-C1F3-D6BF5F68D21F}"/>
          </ac:spMkLst>
        </pc:spChg>
        <pc:spChg chg="add mod">
          <ac:chgData name="Andreea Paraschiv" userId="a9add99a-823d-48e8-a331-b66eb867776f" providerId="ADAL" clId="{035A241D-5968-4284-B4B6-3DC2883159C2}" dt="2024-09-03T09:32:50.643" v="224"/>
          <ac:spMkLst>
            <pc:docMk/>
            <pc:sldMk cId="1842983701" sldId="9994"/>
            <ac:spMk id="23" creationId="{BE88F794-0384-9C94-216D-71D452767792}"/>
          </ac:spMkLst>
        </pc:spChg>
        <pc:spChg chg="mod">
          <ac:chgData name="Andreea Paraschiv" userId="a9add99a-823d-48e8-a331-b66eb867776f" providerId="ADAL" clId="{035A241D-5968-4284-B4B6-3DC2883159C2}" dt="2024-09-03T09:32:50.643" v="224"/>
          <ac:spMkLst>
            <pc:docMk/>
            <pc:sldMk cId="1842983701" sldId="9994"/>
            <ac:spMk id="25" creationId="{9D8F064F-84C9-7A84-D9D5-2323E39FC768}"/>
          </ac:spMkLst>
        </pc:spChg>
        <pc:spChg chg="mod">
          <ac:chgData name="Andreea Paraschiv" userId="a9add99a-823d-48e8-a331-b66eb867776f" providerId="ADAL" clId="{035A241D-5968-4284-B4B6-3DC2883159C2}" dt="2024-09-03T09:32:50.643" v="224"/>
          <ac:spMkLst>
            <pc:docMk/>
            <pc:sldMk cId="1842983701" sldId="9994"/>
            <ac:spMk id="26" creationId="{7BCB2D7C-5625-839F-3F7F-B11B22427DB1}"/>
          </ac:spMkLst>
        </pc:spChg>
        <pc:spChg chg="del mod">
          <ac:chgData name="Andreea Paraschiv" userId="a9add99a-823d-48e8-a331-b66eb867776f" providerId="ADAL" clId="{035A241D-5968-4284-B4B6-3DC2883159C2}" dt="2024-09-03T09:31:29.496" v="213" actId="478"/>
          <ac:spMkLst>
            <pc:docMk/>
            <pc:sldMk cId="1842983701" sldId="9994"/>
            <ac:spMk id="27" creationId="{EE91AA98-71E1-F1E9-F576-0B6025E1419C}"/>
          </ac:spMkLst>
        </pc:spChg>
        <pc:spChg chg="add mod">
          <ac:chgData name="Andreea Paraschiv" userId="a9add99a-823d-48e8-a331-b66eb867776f" providerId="ADAL" clId="{035A241D-5968-4284-B4B6-3DC2883159C2}" dt="2024-09-03T09:32:50.643" v="224"/>
          <ac:spMkLst>
            <pc:docMk/>
            <pc:sldMk cId="1842983701" sldId="9994"/>
            <ac:spMk id="28" creationId="{AE55D9B7-7B00-375E-85DD-24DE749F2EE1}"/>
          </ac:spMkLst>
        </pc:spChg>
        <pc:spChg chg="mod">
          <ac:chgData name="Andreea Paraschiv" userId="a9add99a-823d-48e8-a331-b66eb867776f" providerId="ADAL" clId="{035A241D-5968-4284-B4B6-3DC2883159C2}" dt="2024-09-03T09:37:11.803" v="353" actId="26606"/>
          <ac:spMkLst>
            <pc:docMk/>
            <pc:sldMk cId="1842983701" sldId="9994"/>
            <ac:spMk id="29" creationId="{05867EA5-CE9A-9CE9-744E-F0217DDA2C1F}"/>
          </ac:spMkLst>
        </pc:spChg>
        <pc:spChg chg="del mod">
          <ac:chgData name="Andreea Paraschiv" userId="a9add99a-823d-48e8-a331-b66eb867776f" providerId="ADAL" clId="{035A241D-5968-4284-B4B6-3DC2883159C2}" dt="2024-09-03T09:31:23.344" v="208" actId="478"/>
          <ac:spMkLst>
            <pc:docMk/>
            <pc:sldMk cId="1842983701" sldId="9994"/>
            <ac:spMk id="32" creationId="{26408EAB-AFF6-7DAB-F2BD-CA74BB510757}"/>
          </ac:spMkLst>
        </pc:spChg>
        <pc:spChg chg="del">
          <ac:chgData name="Andreea Paraschiv" userId="a9add99a-823d-48e8-a331-b66eb867776f" providerId="ADAL" clId="{035A241D-5968-4284-B4B6-3DC2883159C2}" dt="2024-09-03T09:31:24.231" v="209" actId="478"/>
          <ac:spMkLst>
            <pc:docMk/>
            <pc:sldMk cId="1842983701" sldId="9994"/>
            <ac:spMk id="34" creationId="{60DD63A3-26FA-0545-E95F-ABC7687271A2}"/>
          </ac:spMkLst>
        </pc:spChg>
        <pc:spChg chg="add del mod">
          <ac:chgData name="Andreea Paraschiv" userId="a9add99a-823d-48e8-a331-b66eb867776f" providerId="ADAL" clId="{035A241D-5968-4284-B4B6-3DC2883159C2}" dt="2024-09-03T09:35:28.586" v="328" actId="26606"/>
          <ac:spMkLst>
            <pc:docMk/>
            <pc:sldMk cId="1842983701" sldId="9994"/>
            <ac:spMk id="41" creationId="{D53A924F-815A-AB34-05CB-E914C47EF573}"/>
          </ac:spMkLst>
        </pc:spChg>
        <pc:spChg chg="del">
          <ac:chgData name="Andreea Paraschiv" userId="a9add99a-823d-48e8-a331-b66eb867776f" providerId="ADAL" clId="{035A241D-5968-4284-B4B6-3DC2883159C2}" dt="2024-09-03T09:31:26.207" v="210" actId="478"/>
          <ac:spMkLst>
            <pc:docMk/>
            <pc:sldMk cId="1842983701" sldId="9994"/>
            <ac:spMk id="44" creationId="{276F8747-2C56-56A2-72F5-5E09A367A920}"/>
          </ac:spMkLst>
        </pc:spChg>
        <pc:spChg chg="add del mod">
          <ac:chgData name="Andreea Paraschiv" userId="a9add99a-823d-48e8-a331-b66eb867776f" providerId="ADAL" clId="{035A241D-5968-4284-B4B6-3DC2883159C2}" dt="2024-09-03T09:42:45.271" v="397" actId="478"/>
          <ac:spMkLst>
            <pc:docMk/>
            <pc:sldMk cId="1842983701" sldId="9994"/>
            <ac:spMk id="77" creationId="{E749508C-AF85-53D2-9074-5BA8AA797045}"/>
          </ac:spMkLst>
        </pc:spChg>
        <pc:grpChg chg="add mod">
          <ac:chgData name="Andreea Paraschiv" userId="a9add99a-823d-48e8-a331-b66eb867776f" providerId="ADAL" clId="{035A241D-5968-4284-B4B6-3DC2883159C2}" dt="2024-09-03T09:32:50.643" v="224"/>
          <ac:grpSpMkLst>
            <pc:docMk/>
            <pc:sldMk cId="1842983701" sldId="9994"/>
            <ac:grpSpMk id="24" creationId="{9B5C6725-73F3-E414-96EB-0395D312F3E1}"/>
          </ac:grpSpMkLst>
        </pc:grpChg>
        <pc:graphicFrameChg chg="add mod">
          <ac:chgData name="Andreea Paraschiv" userId="a9add99a-823d-48e8-a331-b66eb867776f" providerId="ADAL" clId="{035A241D-5968-4284-B4B6-3DC2883159C2}" dt="2024-09-03T09:31:33.075" v="214"/>
          <ac:graphicFrameMkLst>
            <pc:docMk/>
            <pc:sldMk cId="1842983701" sldId="9994"/>
            <ac:graphicFrameMk id="5" creationId="{CEAEE8A9-5979-4EA1-656A-CE2701A11CC8}"/>
          </ac:graphicFrameMkLst>
        </pc:graphicFrameChg>
        <pc:graphicFrameChg chg="add mod">
          <ac:chgData name="Andreea Paraschiv" userId="a9add99a-823d-48e8-a331-b66eb867776f" providerId="ADAL" clId="{035A241D-5968-4284-B4B6-3DC2883159C2}" dt="2024-09-03T09:31:46.750" v="220"/>
          <ac:graphicFrameMkLst>
            <pc:docMk/>
            <pc:sldMk cId="1842983701" sldId="9994"/>
            <ac:graphicFrameMk id="6" creationId="{1495B678-6F15-C7E4-246F-D82E833CD682}"/>
          </ac:graphicFrameMkLst>
        </pc:graphicFrameChg>
        <pc:graphicFrameChg chg="add mod">
          <ac:chgData name="Andreea Paraschiv" userId="a9add99a-823d-48e8-a331-b66eb867776f" providerId="ADAL" clId="{035A241D-5968-4284-B4B6-3DC2883159C2}" dt="2024-09-03T09:32:15.950" v="222" actId="207"/>
          <ac:graphicFrameMkLst>
            <pc:docMk/>
            <pc:sldMk cId="1842983701" sldId="9994"/>
            <ac:graphicFrameMk id="7" creationId="{A653EF52-2739-9696-3347-80040E4D893F}"/>
          </ac:graphicFrameMkLst>
        </pc:graphicFrameChg>
        <pc:picChg chg="del">
          <ac:chgData name="Andreea Paraschiv" userId="a9add99a-823d-48e8-a331-b66eb867776f" providerId="ADAL" clId="{035A241D-5968-4284-B4B6-3DC2883159C2}" dt="2024-09-03T09:31:19.365" v="204" actId="478"/>
          <ac:picMkLst>
            <pc:docMk/>
            <pc:sldMk cId="1842983701" sldId="9994"/>
            <ac:picMk id="12" creationId="{8194176D-2C87-6718-F4B8-0838CFEEBCEA}"/>
          </ac:picMkLst>
        </pc:picChg>
        <pc:picChg chg="del">
          <ac:chgData name="Andreea Paraschiv" userId="a9add99a-823d-48e8-a331-b66eb867776f" providerId="ADAL" clId="{035A241D-5968-4284-B4B6-3DC2883159C2}" dt="2024-09-03T09:31:20.135" v="205" actId="478"/>
          <ac:picMkLst>
            <pc:docMk/>
            <pc:sldMk cId="1842983701" sldId="9994"/>
            <ac:picMk id="33" creationId="{07513A77-C688-7C7E-D0A7-6DB9918279EC}"/>
          </ac:picMkLst>
        </pc:picChg>
        <pc:picChg chg="add del mod ord">
          <ac:chgData name="Andreea Paraschiv" userId="a9add99a-823d-48e8-a331-b66eb867776f" providerId="ADAL" clId="{035A241D-5968-4284-B4B6-3DC2883159C2}" dt="2024-09-03T09:35:37.224" v="335" actId="22"/>
          <ac:picMkLst>
            <pc:docMk/>
            <pc:sldMk cId="1842983701" sldId="9994"/>
            <ac:picMk id="36" creationId="{F2317727-AA5E-353F-9408-47ED1AC329E3}"/>
          </ac:picMkLst>
        </pc:picChg>
        <pc:picChg chg="add del">
          <ac:chgData name="Andreea Paraschiv" userId="a9add99a-823d-48e8-a331-b66eb867776f" providerId="ADAL" clId="{035A241D-5968-4284-B4B6-3DC2883159C2}" dt="2024-09-03T09:35:28.570" v="327" actId="22"/>
          <ac:picMkLst>
            <pc:docMk/>
            <pc:sldMk cId="1842983701" sldId="9994"/>
            <ac:picMk id="38" creationId="{9E3F0FAD-95B6-C241-29E3-827303A62B01}"/>
          </ac:picMkLst>
        </pc:picChg>
        <pc:picChg chg="add del">
          <ac:chgData name="Andreea Paraschiv" userId="a9add99a-823d-48e8-a331-b66eb867776f" providerId="ADAL" clId="{035A241D-5968-4284-B4B6-3DC2883159C2}" dt="2024-09-03T09:35:28.570" v="326" actId="22"/>
          <ac:picMkLst>
            <pc:docMk/>
            <pc:sldMk cId="1842983701" sldId="9994"/>
            <ac:picMk id="40" creationId="{10C3A786-D51E-5FE2-7A4E-D8E2FB2ABEB5}"/>
          </ac:picMkLst>
        </pc:picChg>
        <pc:picChg chg="add del">
          <ac:chgData name="Andreea Paraschiv" userId="a9add99a-823d-48e8-a331-b66eb867776f" providerId="ADAL" clId="{035A241D-5968-4284-B4B6-3DC2883159C2}" dt="2024-09-03T09:35:28.570" v="325" actId="22"/>
          <ac:picMkLst>
            <pc:docMk/>
            <pc:sldMk cId="1842983701" sldId="9994"/>
            <ac:picMk id="43" creationId="{AAA5FC73-09C5-52E1-692B-16AA10C95BB3}"/>
          </ac:picMkLst>
        </pc:picChg>
        <pc:picChg chg="add del">
          <ac:chgData name="Andreea Paraschiv" userId="a9add99a-823d-48e8-a331-b66eb867776f" providerId="ADAL" clId="{035A241D-5968-4284-B4B6-3DC2883159C2}" dt="2024-09-03T09:35:28.570" v="324" actId="22"/>
          <ac:picMkLst>
            <pc:docMk/>
            <pc:sldMk cId="1842983701" sldId="9994"/>
            <ac:picMk id="46" creationId="{86F0D981-376B-2309-7939-9E261803A02C}"/>
          </ac:picMkLst>
        </pc:picChg>
        <pc:picChg chg="add del">
          <ac:chgData name="Andreea Paraschiv" userId="a9add99a-823d-48e8-a331-b66eb867776f" providerId="ADAL" clId="{035A241D-5968-4284-B4B6-3DC2883159C2}" dt="2024-09-03T09:35:25.862" v="323" actId="22"/>
          <ac:picMkLst>
            <pc:docMk/>
            <pc:sldMk cId="1842983701" sldId="9994"/>
            <ac:picMk id="48" creationId="{412FCFC2-705E-62CA-8387-49D31CDBA913}"/>
          </ac:picMkLst>
        </pc:picChg>
        <pc:picChg chg="add del">
          <ac:chgData name="Andreea Paraschiv" userId="a9add99a-823d-48e8-a331-b66eb867776f" providerId="ADAL" clId="{035A241D-5968-4284-B4B6-3DC2883159C2}" dt="2024-09-03T09:35:25.460" v="322" actId="22"/>
          <ac:picMkLst>
            <pc:docMk/>
            <pc:sldMk cId="1842983701" sldId="9994"/>
            <ac:picMk id="50" creationId="{4B954B59-0287-FA19-D00A-2FC832C1A005}"/>
          </ac:picMkLst>
        </pc:picChg>
        <pc:picChg chg="add del">
          <ac:chgData name="Andreea Paraschiv" userId="a9add99a-823d-48e8-a331-b66eb867776f" providerId="ADAL" clId="{035A241D-5968-4284-B4B6-3DC2883159C2}" dt="2024-09-03T09:35:25.259" v="321" actId="22"/>
          <ac:picMkLst>
            <pc:docMk/>
            <pc:sldMk cId="1842983701" sldId="9994"/>
            <ac:picMk id="52" creationId="{9B15DD0B-C103-DD96-6DFA-5418F9B23783}"/>
          </ac:picMkLst>
        </pc:picChg>
        <pc:picChg chg="add del">
          <ac:chgData name="Andreea Paraschiv" userId="a9add99a-823d-48e8-a331-b66eb867776f" providerId="ADAL" clId="{035A241D-5968-4284-B4B6-3DC2883159C2}" dt="2024-09-03T09:35:24.958" v="320" actId="22"/>
          <ac:picMkLst>
            <pc:docMk/>
            <pc:sldMk cId="1842983701" sldId="9994"/>
            <ac:picMk id="54" creationId="{28F94151-F53D-2C58-3C6E-44AC1E3EA895}"/>
          </ac:picMkLst>
        </pc:picChg>
        <pc:picChg chg="add del">
          <ac:chgData name="Andreea Paraschiv" userId="a9add99a-823d-48e8-a331-b66eb867776f" providerId="ADAL" clId="{035A241D-5968-4284-B4B6-3DC2883159C2}" dt="2024-09-03T09:35:24.614" v="319" actId="22"/>
          <ac:picMkLst>
            <pc:docMk/>
            <pc:sldMk cId="1842983701" sldId="9994"/>
            <ac:picMk id="56" creationId="{97E51C2A-A541-020A-DE76-E11ED70D5614}"/>
          </ac:picMkLst>
        </pc:picChg>
        <pc:picChg chg="add del">
          <ac:chgData name="Andreea Paraschiv" userId="a9add99a-823d-48e8-a331-b66eb867776f" providerId="ADAL" clId="{035A241D-5968-4284-B4B6-3DC2883159C2}" dt="2024-09-03T09:35:24.388" v="318" actId="22"/>
          <ac:picMkLst>
            <pc:docMk/>
            <pc:sldMk cId="1842983701" sldId="9994"/>
            <ac:picMk id="58" creationId="{1A229737-9227-40FD-311D-C3EBD49F87F0}"/>
          </ac:picMkLst>
        </pc:picChg>
        <pc:picChg chg="add del">
          <ac:chgData name="Andreea Paraschiv" userId="a9add99a-823d-48e8-a331-b66eb867776f" providerId="ADAL" clId="{035A241D-5968-4284-B4B6-3DC2883159C2}" dt="2024-09-03T09:35:24.103" v="317" actId="22"/>
          <ac:picMkLst>
            <pc:docMk/>
            <pc:sldMk cId="1842983701" sldId="9994"/>
            <ac:picMk id="60" creationId="{648FBCF8-6491-F800-CBA7-DEFA746A6ACB}"/>
          </ac:picMkLst>
        </pc:picChg>
        <pc:picChg chg="add del">
          <ac:chgData name="Andreea Paraschiv" userId="a9add99a-823d-48e8-a331-b66eb867776f" providerId="ADAL" clId="{035A241D-5968-4284-B4B6-3DC2883159C2}" dt="2024-09-03T09:35:23.833" v="316" actId="22"/>
          <ac:picMkLst>
            <pc:docMk/>
            <pc:sldMk cId="1842983701" sldId="9994"/>
            <ac:picMk id="62" creationId="{ABAD0740-9C30-D8BA-33EC-7DC08D8E992A}"/>
          </ac:picMkLst>
        </pc:picChg>
        <pc:picChg chg="add del">
          <ac:chgData name="Andreea Paraschiv" userId="a9add99a-823d-48e8-a331-b66eb867776f" providerId="ADAL" clId="{035A241D-5968-4284-B4B6-3DC2883159C2}" dt="2024-09-03T09:35:23.502" v="315" actId="22"/>
          <ac:picMkLst>
            <pc:docMk/>
            <pc:sldMk cId="1842983701" sldId="9994"/>
            <ac:picMk id="64" creationId="{E92DD895-EF75-A817-9854-91725532F503}"/>
          </ac:picMkLst>
        </pc:picChg>
        <pc:picChg chg="add del">
          <ac:chgData name="Andreea Paraschiv" userId="a9add99a-823d-48e8-a331-b66eb867776f" providerId="ADAL" clId="{035A241D-5968-4284-B4B6-3DC2883159C2}" dt="2024-09-03T09:35:23.169" v="314" actId="22"/>
          <ac:picMkLst>
            <pc:docMk/>
            <pc:sldMk cId="1842983701" sldId="9994"/>
            <ac:picMk id="66" creationId="{36CD8711-A757-623E-E33E-F59FE851838F}"/>
          </ac:picMkLst>
        </pc:picChg>
        <pc:picChg chg="add del">
          <ac:chgData name="Andreea Paraschiv" userId="a9add99a-823d-48e8-a331-b66eb867776f" providerId="ADAL" clId="{035A241D-5968-4284-B4B6-3DC2883159C2}" dt="2024-09-03T09:35:22.867" v="313" actId="22"/>
          <ac:picMkLst>
            <pc:docMk/>
            <pc:sldMk cId="1842983701" sldId="9994"/>
            <ac:picMk id="68" creationId="{E858EA9B-E792-8FDF-4AEA-2A19CB1221B1}"/>
          </ac:picMkLst>
        </pc:picChg>
        <pc:picChg chg="add del">
          <ac:chgData name="Andreea Paraschiv" userId="a9add99a-823d-48e8-a331-b66eb867776f" providerId="ADAL" clId="{035A241D-5968-4284-B4B6-3DC2883159C2}" dt="2024-09-03T09:35:22.467" v="312" actId="22"/>
          <ac:picMkLst>
            <pc:docMk/>
            <pc:sldMk cId="1842983701" sldId="9994"/>
            <ac:picMk id="70" creationId="{C485EEBA-F958-1CAF-29D7-89067BA7B42F}"/>
          </ac:picMkLst>
        </pc:picChg>
        <pc:picChg chg="add mod ord">
          <ac:chgData name="Andreea Paraschiv" userId="a9add99a-823d-48e8-a331-b66eb867776f" providerId="ADAL" clId="{035A241D-5968-4284-B4B6-3DC2883159C2}" dt="2024-09-03T09:42:41.202" v="395" actId="1036"/>
          <ac:picMkLst>
            <pc:docMk/>
            <pc:sldMk cId="1842983701" sldId="9994"/>
            <ac:picMk id="72" creationId="{502383D3-5E9A-D641-238A-DF85C7931ED7}"/>
          </ac:picMkLst>
        </pc:picChg>
        <pc:cxnChg chg="add mod">
          <ac:chgData name="Andreea Paraschiv" userId="a9add99a-823d-48e8-a331-b66eb867776f" providerId="ADAL" clId="{035A241D-5968-4284-B4B6-3DC2883159C2}" dt="2024-09-03T09:32:15.950" v="222" actId="207"/>
          <ac:cxnSpMkLst>
            <pc:docMk/>
            <pc:sldMk cId="1842983701" sldId="9994"/>
            <ac:cxnSpMk id="16" creationId="{8DED6B1A-6242-A3FC-B8AB-F391364DFD2E}"/>
          </ac:cxnSpMkLst>
        </pc:cxnChg>
        <pc:cxnChg chg="add mod">
          <ac:chgData name="Andreea Paraschiv" userId="a9add99a-823d-48e8-a331-b66eb867776f" providerId="ADAL" clId="{035A241D-5968-4284-B4B6-3DC2883159C2}" dt="2024-09-03T09:32:15.950" v="222" actId="207"/>
          <ac:cxnSpMkLst>
            <pc:docMk/>
            <pc:sldMk cId="1842983701" sldId="9994"/>
            <ac:cxnSpMk id="17" creationId="{C29F5A97-C0DC-D623-4A0C-BD376DE30307}"/>
          </ac:cxnSpMkLst>
        </pc:cxnChg>
        <pc:cxnChg chg="add mod">
          <ac:chgData name="Andreea Paraschiv" userId="a9add99a-823d-48e8-a331-b66eb867776f" providerId="ADAL" clId="{035A241D-5968-4284-B4B6-3DC2883159C2}" dt="2024-09-03T09:32:50.643" v="224"/>
          <ac:cxnSpMkLst>
            <pc:docMk/>
            <pc:sldMk cId="1842983701" sldId="9994"/>
            <ac:cxnSpMk id="30" creationId="{D982368A-A9F5-17FD-A4A2-F7DAD445A6E4}"/>
          </ac:cxnSpMkLst>
        </pc:cxnChg>
        <pc:cxnChg chg="add mod">
          <ac:chgData name="Andreea Paraschiv" userId="a9add99a-823d-48e8-a331-b66eb867776f" providerId="ADAL" clId="{035A241D-5968-4284-B4B6-3DC2883159C2}" dt="2024-09-03T09:32:50.643" v="224"/>
          <ac:cxnSpMkLst>
            <pc:docMk/>
            <pc:sldMk cId="1842983701" sldId="9994"/>
            <ac:cxnSpMk id="31" creationId="{345506C6-2DFD-DB3D-BC3F-B1225AA08C97}"/>
          </ac:cxnSpMkLst>
        </pc:cxnChg>
      </pc:sldChg>
      <pc:sldChg chg="addSp delSp modSp add del mod ord">
        <pc:chgData name="Andreea Paraschiv" userId="a9add99a-823d-48e8-a331-b66eb867776f" providerId="ADAL" clId="{035A241D-5968-4284-B4B6-3DC2883159C2}" dt="2024-09-03T12:26:38.760" v="810" actId="2696"/>
        <pc:sldMkLst>
          <pc:docMk/>
          <pc:sldMk cId="957965235" sldId="9995"/>
        </pc:sldMkLst>
        <pc:spChg chg="add mod">
          <ac:chgData name="Andreea Paraschiv" userId="a9add99a-823d-48e8-a331-b66eb867776f" providerId="ADAL" clId="{035A241D-5968-4284-B4B6-3DC2883159C2}" dt="2024-09-03T11:55:46.703" v="551" actId="14100"/>
          <ac:spMkLst>
            <pc:docMk/>
            <pc:sldMk cId="957965235" sldId="9995"/>
            <ac:spMk id="2" creationId="{81139748-DA20-038B-3F55-BD23036ABE8D}"/>
          </ac:spMkLst>
        </pc:spChg>
        <pc:spChg chg="mod">
          <ac:chgData name="Andreea Paraschiv" userId="a9add99a-823d-48e8-a331-b66eb867776f" providerId="ADAL" clId="{035A241D-5968-4284-B4B6-3DC2883159C2}" dt="2024-09-03T12:02:11.295" v="589" actId="20577"/>
          <ac:spMkLst>
            <pc:docMk/>
            <pc:sldMk cId="957965235" sldId="9995"/>
            <ac:spMk id="8" creationId="{6F1CC5EF-D243-4D82-8F8C-AF158ACBD1D2}"/>
          </ac:spMkLst>
        </pc:spChg>
        <pc:spChg chg="add del">
          <ac:chgData name="Andreea Paraschiv" userId="a9add99a-823d-48e8-a331-b66eb867776f" providerId="ADAL" clId="{035A241D-5968-4284-B4B6-3DC2883159C2}" dt="2024-09-03T10:57:54.211" v="489" actId="478"/>
          <ac:spMkLst>
            <pc:docMk/>
            <pc:sldMk cId="957965235" sldId="9995"/>
            <ac:spMk id="34" creationId="{F08DF9F5-869E-3430-8EC3-F4637710B84D}"/>
          </ac:spMkLst>
        </pc:spChg>
        <pc:picChg chg="add mod ord">
          <ac:chgData name="Andreea Paraschiv" userId="a9add99a-823d-48e8-a331-b66eb867776f" providerId="ADAL" clId="{035A241D-5968-4284-B4B6-3DC2883159C2}" dt="2024-09-03T10:57:50.526" v="488" actId="1035"/>
          <ac:picMkLst>
            <pc:docMk/>
            <pc:sldMk cId="957965235" sldId="9995"/>
            <ac:picMk id="4" creationId="{8AAE6AEA-2EFF-825F-0C99-D005055C4A8E}"/>
          </ac:picMkLst>
        </pc:picChg>
        <pc:picChg chg="del">
          <ac:chgData name="Andreea Paraschiv" userId="a9add99a-823d-48e8-a331-b66eb867776f" providerId="ADAL" clId="{035A241D-5968-4284-B4B6-3DC2883159C2}" dt="2024-09-03T10:52:36.876" v="465" actId="478"/>
          <ac:picMkLst>
            <pc:docMk/>
            <pc:sldMk cId="957965235" sldId="9995"/>
            <ac:picMk id="72" creationId="{502383D3-5E9A-D641-238A-DF85C7931ED7}"/>
          </ac:picMkLst>
        </pc:picChg>
      </pc:sldChg>
      <pc:sldChg chg="addSp delSp modSp new del mod modClrScheme chgLayout">
        <pc:chgData name="Andreea Paraschiv" userId="a9add99a-823d-48e8-a331-b66eb867776f" providerId="ADAL" clId="{035A241D-5968-4284-B4B6-3DC2883159C2}" dt="2024-09-03T11:56:16.876" v="552" actId="2696"/>
        <pc:sldMkLst>
          <pc:docMk/>
          <pc:sldMk cId="332988892" sldId="9996"/>
        </pc:sldMkLst>
        <pc:spChg chg="mod">
          <ac:chgData name="Andreea Paraschiv" userId="a9add99a-823d-48e8-a331-b66eb867776f" providerId="ADAL" clId="{035A241D-5968-4284-B4B6-3DC2883159C2}" dt="2024-09-03T10:58:43.389" v="518" actId="26606"/>
          <ac:spMkLst>
            <pc:docMk/>
            <pc:sldMk cId="332988892" sldId="9996"/>
            <ac:spMk id="2" creationId="{E752EECD-5A63-2C18-A442-BABB5124DF55}"/>
          </ac:spMkLst>
        </pc:spChg>
        <pc:spChg chg="del">
          <ac:chgData name="Andreea Paraschiv" userId="a9add99a-823d-48e8-a331-b66eb867776f" providerId="ADAL" clId="{035A241D-5968-4284-B4B6-3DC2883159C2}" dt="2024-09-03T10:58:22.280" v="491" actId="478"/>
          <ac:spMkLst>
            <pc:docMk/>
            <pc:sldMk cId="332988892" sldId="9996"/>
            <ac:spMk id="3" creationId="{8E4DB55E-4BA0-0AFE-2AE8-F0ADD7F63132}"/>
          </ac:spMkLst>
        </pc:spChg>
        <pc:spChg chg="add del mod ord">
          <ac:chgData name="Andreea Paraschiv" userId="a9add99a-823d-48e8-a331-b66eb867776f" providerId="ADAL" clId="{035A241D-5968-4284-B4B6-3DC2883159C2}" dt="2024-09-03T10:58:58.373" v="525" actId="478"/>
          <ac:spMkLst>
            <pc:docMk/>
            <pc:sldMk cId="332988892" sldId="9996"/>
            <ac:spMk id="4" creationId="{5AE8112F-EF56-470F-826F-78FC60051F4E}"/>
          </ac:spMkLst>
        </pc:spChg>
        <pc:spChg chg="del mod ord">
          <ac:chgData name="Andreea Paraschiv" userId="a9add99a-823d-48e8-a331-b66eb867776f" providerId="ADAL" clId="{035A241D-5968-4284-B4B6-3DC2883159C2}" dt="2024-09-03T10:58:50.798" v="523" actId="478"/>
          <ac:spMkLst>
            <pc:docMk/>
            <pc:sldMk cId="332988892" sldId="9996"/>
            <ac:spMk id="5" creationId="{A54C855D-24BD-1160-3440-74AABBE93EFB}"/>
          </ac:spMkLst>
        </pc:spChg>
        <pc:picChg chg="add mod">
          <ac:chgData name="Andreea Paraschiv" userId="a9add99a-823d-48e8-a331-b66eb867776f" providerId="ADAL" clId="{035A241D-5968-4284-B4B6-3DC2883159C2}" dt="2024-09-03T10:58:48.559" v="519" actId="27614"/>
          <ac:picMkLst>
            <pc:docMk/>
            <pc:sldMk cId="332988892" sldId="9996"/>
            <ac:picMk id="6" creationId="{4310B6DF-73B2-EF20-CC64-1ABBCD899ACE}"/>
          </ac:picMkLst>
        </pc:picChg>
        <pc:picChg chg="add mod">
          <ac:chgData name="Andreea Paraschiv" userId="a9add99a-823d-48e8-a331-b66eb867776f" providerId="ADAL" clId="{035A241D-5968-4284-B4B6-3DC2883159C2}" dt="2024-09-03T10:58:43.389" v="518" actId="26606"/>
          <ac:picMkLst>
            <pc:docMk/>
            <pc:sldMk cId="332988892" sldId="9996"/>
            <ac:picMk id="7" creationId="{CEE7D128-A73A-2D59-B4F8-B2516AB4E7C6}"/>
          </ac:picMkLst>
        </pc:picChg>
        <pc:picChg chg="add mod">
          <ac:chgData name="Andreea Paraschiv" userId="a9add99a-823d-48e8-a331-b66eb867776f" providerId="ADAL" clId="{035A241D-5968-4284-B4B6-3DC2883159C2}" dt="2024-09-03T10:58:48.891" v="521" actId="27614"/>
          <ac:picMkLst>
            <pc:docMk/>
            <pc:sldMk cId="332988892" sldId="9996"/>
            <ac:picMk id="8" creationId="{7F02EC77-220A-AD33-A02E-3C068DA782E2}"/>
          </ac:picMkLst>
        </pc:picChg>
      </pc:sldChg>
      <pc:sldChg chg="add">
        <pc:chgData name="Andreea Paraschiv" userId="a9add99a-823d-48e8-a331-b66eb867776f" providerId="ADAL" clId="{035A241D-5968-4284-B4B6-3DC2883159C2}" dt="2024-09-03T11:57:46.790" v="560"/>
        <pc:sldMkLst>
          <pc:docMk/>
          <pc:sldMk cId="695323493" sldId="9996"/>
        </pc:sldMkLst>
      </pc:sldChg>
      <pc:sldChg chg="new del">
        <pc:chgData name="Andreea Paraschiv" userId="a9add99a-823d-48e8-a331-b66eb867776f" providerId="ADAL" clId="{035A241D-5968-4284-B4B6-3DC2883159C2}" dt="2024-09-03T11:52:13.261" v="527" actId="2696"/>
        <pc:sldMkLst>
          <pc:docMk/>
          <pc:sldMk cId="2907304025" sldId="9997"/>
        </pc:sldMkLst>
      </pc:sldChg>
      <pc:sldChg chg="addSp delSp modSp new mod modClrScheme chgLayout">
        <pc:chgData name="Andreea Paraschiv" userId="a9add99a-823d-48e8-a331-b66eb867776f" providerId="ADAL" clId="{035A241D-5968-4284-B4B6-3DC2883159C2}" dt="2024-09-03T12:26:53.373" v="814" actId="20577"/>
        <pc:sldMkLst>
          <pc:docMk/>
          <pc:sldMk cId="3819991094" sldId="9997"/>
        </pc:sldMkLst>
        <pc:spChg chg="mod">
          <ac:chgData name="Andreea Paraschiv" userId="a9add99a-823d-48e8-a331-b66eb867776f" providerId="ADAL" clId="{035A241D-5968-4284-B4B6-3DC2883159C2}" dt="2024-09-03T12:26:53.373" v="814" actId="20577"/>
          <ac:spMkLst>
            <pc:docMk/>
            <pc:sldMk cId="3819991094" sldId="9997"/>
            <ac:spMk id="2" creationId="{DA1F5430-CF8A-80C7-5F1F-9A4BC933A451}"/>
          </ac:spMkLst>
        </pc:spChg>
        <pc:spChg chg="del mod">
          <ac:chgData name="Andreea Paraschiv" userId="a9add99a-823d-48e8-a331-b66eb867776f" providerId="ADAL" clId="{035A241D-5968-4284-B4B6-3DC2883159C2}" dt="2024-09-03T12:03:39.726" v="647" actId="26606"/>
          <ac:spMkLst>
            <pc:docMk/>
            <pc:sldMk cId="3819991094" sldId="9997"/>
            <ac:spMk id="3" creationId="{6BF6B548-E929-0011-9EA4-3A202F009DAF}"/>
          </ac:spMkLst>
        </pc:spChg>
        <pc:spChg chg="mod">
          <ac:chgData name="Andreea Paraschiv" userId="a9add99a-823d-48e8-a331-b66eb867776f" providerId="ADAL" clId="{035A241D-5968-4284-B4B6-3DC2883159C2}" dt="2024-09-03T12:03:39.726" v="647" actId="26606"/>
          <ac:spMkLst>
            <pc:docMk/>
            <pc:sldMk cId="3819991094" sldId="9997"/>
            <ac:spMk id="4" creationId="{0AB87A91-7153-1164-28E6-14314711646F}"/>
          </ac:spMkLst>
        </pc:spChg>
        <pc:spChg chg="del mod">
          <ac:chgData name="Andreea Paraschiv" userId="a9add99a-823d-48e8-a331-b66eb867776f" providerId="ADAL" clId="{035A241D-5968-4284-B4B6-3DC2883159C2}" dt="2024-09-03T12:06:47.744" v="754" actId="478"/>
          <ac:spMkLst>
            <pc:docMk/>
            <pc:sldMk cId="3819991094" sldId="9997"/>
            <ac:spMk id="5" creationId="{A1F365DF-4031-137D-4A79-7191F4677494}"/>
          </ac:spMkLst>
        </pc:spChg>
        <pc:spChg chg="add mod">
          <ac:chgData name="Andreea Paraschiv" userId="a9add99a-823d-48e8-a331-b66eb867776f" providerId="ADAL" clId="{035A241D-5968-4284-B4B6-3DC2883159C2}" dt="2024-09-03T12:06:35.916" v="752" actId="1076"/>
          <ac:spMkLst>
            <pc:docMk/>
            <pc:sldMk cId="3819991094" sldId="9997"/>
            <ac:spMk id="11" creationId="{4DA10C9E-A1A4-3318-67A4-887EAFC995B1}"/>
          </ac:spMkLst>
        </pc:spChg>
        <pc:graphicFrameChg chg="add mod modGraphic">
          <ac:chgData name="Andreea Paraschiv" userId="a9add99a-823d-48e8-a331-b66eb867776f" providerId="ADAL" clId="{035A241D-5968-4284-B4B6-3DC2883159C2}" dt="2024-09-03T12:06:40.668" v="753" actId="1076"/>
          <ac:graphicFrameMkLst>
            <pc:docMk/>
            <pc:sldMk cId="3819991094" sldId="9997"/>
            <ac:graphicFrameMk id="7" creationId="{E8D11C6F-FA4B-ADD4-F17F-893F21CE8516}"/>
          </ac:graphicFrameMkLst>
        </pc:graphicFrameChg>
      </pc:sldChg>
      <pc:sldChg chg="add">
        <pc:chgData name="Andreea Paraschiv" userId="a9add99a-823d-48e8-a331-b66eb867776f" providerId="ADAL" clId="{035A241D-5968-4284-B4B6-3DC2883159C2}" dt="2024-09-03T12:26:11.617" v="809"/>
        <pc:sldMkLst>
          <pc:docMk/>
          <pc:sldMk cId="3670609181" sldId="9998"/>
        </pc:sldMkLst>
      </pc:sldChg>
      <pc:sldChg chg="add">
        <pc:chgData name="Andreea Paraschiv" userId="a9add99a-823d-48e8-a331-b66eb867776f" providerId="ADAL" clId="{035A241D-5968-4284-B4B6-3DC2883159C2}" dt="2024-09-03T12:26:11.617" v="809"/>
        <pc:sldMkLst>
          <pc:docMk/>
          <pc:sldMk cId="222783695" sldId="9999"/>
        </pc:sldMkLst>
      </pc:sldChg>
      <pc:sldMasterChg chg="addSldLayout delSldLayout">
        <pc:chgData name="Andreea Paraschiv" userId="a9add99a-823d-48e8-a331-b66eb867776f" providerId="ADAL" clId="{035A241D-5968-4284-B4B6-3DC2883159C2}" dt="2024-09-03T09:42:27.530" v="363" actId="2696"/>
        <pc:sldMasterMkLst>
          <pc:docMk/>
          <pc:sldMasterMk cId="3252287160" sldId="2147483648"/>
        </pc:sldMasterMkLst>
        <pc:sldLayoutChg chg="add del">
          <pc:chgData name="Andreea Paraschiv" userId="a9add99a-823d-48e8-a331-b66eb867776f" providerId="ADAL" clId="{035A241D-5968-4284-B4B6-3DC2883159C2}" dt="2024-09-03T09:42:27.530" v="363" actId="2696"/>
          <pc:sldLayoutMkLst>
            <pc:docMk/>
            <pc:sldMasterMk cId="3252287160" sldId="2147483648"/>
            <pc:sldLayoutMk cId="542766732" sldId="2147483683"/>
          </pc:sldLayoutMkLst>
        </pc:sldLayoutChg>
        <pc:sldLayoutChg chg="del">
          <pc:chgData name="Andreea Paraschiv" userId="a9add99a-823d-48e8-a331-b66eb867776f" providerId="ADAL" clId="{035A241D-5968-4284-B4B6-3DC2883159C2}" dt="2024-09-03T08:02:09.703" v="100" actId="2696"/>
          <pc:sldLayoutMkLst>
            <pc:docMk/>
            <pc:sldMasterMk cId="3252287160" sldId="2147483648"/>
            <pc:sldLayoutMk cId="1390698802" sldId="2147483683"/>
          </pc:sldLayoutMkLst>
        </pc:sldLayoutChg>
        <pc:sldLayoutChg chg="del">
          <pc:chgData name="Andreea Paraschiv" userId="a9add99a-823d-48e8-a331-b66eb867776f" providerId="ADAL" clId="{035A241D-5968-4284-B4B6-3DC2883159C2}" dt="2024-09-03T08:02:12.190" v="101" actId="2696"/>
          <pc:sldLayoutMkLst>
            <pc:docMk/>
            <pc:sldMasterMk cId="3252287160" sldId="2147483648"/>
            <pc:sldLayoutMk cId="2921827019" sldId="2147483684"/>
          </pc:sldLayoutMkLst>
        </pc:sldLayoutChg>
      </pc:sldMasterChg>
      <pc:sldMasterChg chg="addSp">
        <pc:chgData name="Andreea Paraschiv" userId="a9add99a-823d-48e8-a331-b66eb867776f" providerId="ADAL" clId="{035A241D-5968-4284-B4B6-3DC2883159C2}" dt="2024-09-03T09:34:02.690" v="262"/>
        <pc:sldMasterMkLst>
          <pc:docMk/>
          <pc:sldMasterMk cId="741295458" sldId="2147483684"/>
        </pc:sldMasterMkLst>
        <pc:spChg chg="add">
          <ac:chgData name="Andreea Paraschiv" userId="a9add99a-823d-48e8-a331-b66eb867776f" providerId="ADAL" clId="{035A241D-5968-4284-B4B6-3DC2883159C2}" dt="2024-09-03T09:34:02.690" v="262"/>
          <ac:spMkLst>
            <pc:docMk/>
            <pc:sldMasterMk cId="741295458" sldId="2147483684"/>
            <ac:spMk id="9" creationId="{01775F0D-4471-F7C4-DF3A-326FAEF847A3}"/>
          </ac:spMkLst>
        </pc:spChg>
        <pc:spChg chg="add">
          <ac:chgData name="Andreea Paraschiv" userId="a9add99a-823d-48e8-a331-b66eb867776f" providerId="ADAL" clId="{035A241D-5968-4284-B4B6-3DC2883159C2}" dt="2024-09-03T09:34:02.690" v="262"/>
          <ac:spMkLst>
            <pc:docMk/>
            <pc:sldMasterMk cId="741295458" sldId="2147483684"/>
            <ac:spMk id="10" creationId="{E1BCE281-E0D2-9AE7-3EBF-47C5CF2552A9}"/>
          </ac:spMkLst>
        </pc:spChg>
        <pc:grpChg chg="add">
          <ac:chgData name="Andreea Paraschiv" userId="a9add99a-823d-48e8-a331-b66eb867776f" providerId="ADAL" clId="{035A241D-5968-4284-B4B6-3DC2883159C2}" dt="2024-09-03T09:34:02.690" v="262"/>
          <ac:grpSpMkLst>
            <pc:docMk/>
            <pc:sldMasterMk cId="741295458" sldId="2147483684"/>
            <ac:grpSpMk id="11" creationId="{EF28F39C-C91A-804E-3209-F39769AE75A9}"/>
          </ac:grpSpMkLst>
        </pc:grpChg>
        <pc:graphicFrameChg chg="add">
          <ac:chgData name="Andreea Paraschiv" userId="a9add99a-823d-48e8-a331-b66eb867776f" providerId="ADAL" clId="{035A241D-5968-4284-B4B6-3DC2883159C2}" dt="2024-09-03T09:34:02.690" v="262"/>
          <ac:graphicFrameMkLst>
            <pc:docMk/>
            <pc:sldMasterMk cId="741295458" sldId="2147483684"/>
            <ac:graphicFrameMk id="8" creationId="{98B7133A-9F7D-A514-508E-E6F0E9F0C870}"/>
          </ac:graphicFrameMkLst>
        </pc:graphicFrameChg>
        <pc:picChg chg="add">
          <ac:chgData name="Andreea Paraschiv" userId="a9add99a-823d-48e8-a331-b66eb867776f" providerId="ADAL" clId="{035A241D-5968-4284-B4B6-3DC2883159C2}" dt="2024-09-03T09:34:02.690" v="262"/>
          <ac:picMkLst>
            <pc:docMk/>
            <pc:sldMasterMk cId="741295458" sldId="2147483684"/>
            <ac:picMk id="15" creationId="{3FAFE938-5B04-9190-786C-D6AD8F48FA94}"/>
          </ac:picMkLst>
        </pc:picChg>
      </pc:sldMasterChg>
      <pc:sldMasterChg chg="addSp">
        <pc:chgData name="Andreea Paraschiv" userId="a9add99a-823d-48e8-a331-b66eb867776f" providerId="ADAL" clId="{035A241D-5968-4284-B4B6-3DC2883159C2}" dt="2024-09-03T09:33:37.967" v="234"/>
        <pc:sldMasterMkLst>
          <pc:docMk/>
          <pc:sldMasterMk cId="1664962223" sldId="2147483684"/>
        </pc:sldMasterMkLst>
        <pc:spChg chg="add">
          <ac:chgData name="Andreea Paraschiv" userId="a9add99a-823d-48e8-a331-b66eb867776f" providerId="ADAL" clId="{035A241D-5968-4284-B4B6-3DC2883159C2}" dt="2024-09-03T09:33:37.967" v="234"/>
          <ac:spMkLst>
            <pc:docMk/>
            <pc:sldMasterMk cId="1664962223" sldId="2147483684"/>
            <ac:spMk id="8" creationId="{B11EFD9D-F9E8-ACE0-DC2A-16D824E4116C}"/>
          </ac:spMkLst>
        </pc:spChg>
        <pc:spChg chg="add">
          <ac:chgData name="Andreea Paraschiv" userId="a9add99a-823d-48e8-a331-b66eb867776f" providerId="ADAL" clId="{035A241D-5968-4284-B4B6-3DC2883159C2}" dt="2024-09-03T09:33:37.967" v="234"/>
          <ac:spMkLst>
            <pc:docMk/>
            <pc:sldMasterMk cId="1664962223" sldId="2147483684"/>
            <ac:spMk id="9" creationId="{8887D33E-4F86-C457-368F-32DBE58C54CC}"/>
          </ac:spMkLst>
        </pc:spChg>
        <pc:grpChg chg="add">
          <ac:chgData name="Andreea Paraschiv" userId="a9add99a-823d-48e8-a331-b66eb867776f" providerId="ADAL" clId="{035A241D-5968-4284-B4B6-3DC2883159C2}" dt="2024-09-03T09:33:37.967" v="234"/>
          <ac:grpSpMkLst>
            <pc:docMk/>
            <pc:sldMasterMk cId="1664962223" sldId="2147483684"/>
            <ac:grpSpMk id="10" creationId="{5541453C-570A-19EE-E37F-D3B2B70A35EB}"/>
          </ac:grpSpMkLst>
        </pc:grpChg>
        <pc:graphicFrameChg chg="add">
          <ac:chgData name="Andreea Paraschiv" userId="a9add99a-823d-48e8-a331-b66eb867776f" providerId="ADAL" clId="{035A241D-5968-4284-B4B6-3DC2883159C2}" dt="2024-09-03T09:33:37.967" v="234"/>
          <ac:graphicFrameMkLst>
            <pc:docMk/>
            <pc:sldMasterMk cId="1664962223" sldId="2147483684"/>
            <ac:graphicFrameMk id="7" creationId="{0AFAF935-5246-FEF8-240E-C732DCC7BDBF}"/>
          </ac:graphicFrameMkLst>
        </pc:graphicFrameChg>
        <pc:picChg chg="add">
          <ac:chgData name="Andreea Paraschiv" userId="a9add99a-823d-48e8-a331-b66eb867776f" providerId="ADAL" clId="{035A241D-5968-4284-B4B6-3DC2883159C2}" dt="2024-09-03T09:33:37.967" v="234"/>
          <ac:picMkLst>
            <pc:docMk/>
            <pc:sldMasterMk cId="1664962223" sldId="2147483684"/>
            <ac:picMk id="14" creationId="{245B6747-301C-E1E2-47A8-81B0EE296500}"/>
          </ac:picMkLst>
        </pc:picChg>
      </pc:sldMasterChg>
      <pc:sldMasterChg chg="addSp">
        <pc:chgData name="Andreea Paraschiv" userId="a9add99a-823d-48e8-a331-b66eb867776f" providerId="ADAL" clId="{035A241D-5968-4284-B4B6-3DC2883159C2}" dt="2024-09-03T09:33:39.285" v="246"/>
        <pc:sldMasterMkLst>
          <pc:docMk/>
          <pc:sldMasterMk cId="175845273" sldId="2147483703"/>
        </pc:sldMasterMkLst>
        <pc:spChg chg="add">
          <ac:chgData name="Andreea Paraschiv" userId="a9add99a-823d-48e8-a331-b66eb867776f" providerId="ADAL" clId="{035A241D-5968-4284-B4B6-3DC2883159C2}" dt="2024-09-03T09:33:39.285" v="246"/>
          <ac:spMkLst>
            <pc:docMk/>
            <pc:sldMasterMk cId="175845273" sldId="2147483703"/>
            <ac:spMk id="9" creationId="{4D091121-BAF1-DD68-DE98-99BE89C0E29F}"/>
          </ac:spMkLst>
        </pc:spChg>
        <pc:spChg chg="add">
          <ac:chgData name="Andreea Paraschiv" userId="a9add99a-823d-48e8-a331-b66eb867776f" providerId="ADAL" clId="{035A241D-5968-4284-B4B6-3DC2883159C2}" dt="2024-09-03T09:33:39.285" v="246"/>
          <ac:spMkLst>
            <pc:docMk/>
            <pc:sldMasterMk cId="175845273" sldId="2147483703"/>
            <ac:spMk id="10" creationId="{4454355C-BE14-A0C9-0DA4-BD6F86169F55}"/>
          </ac:spMkLst>
        </pc:spChg>
        <pc:grpChg chg="add">
          <ac:chgData name="Andreea Paraschiv" userId="a9add99a-823d-48e8-a331-b66eb867776f" providerId="ADAL" clId="{035A241D-5968-4284-B4B6-3DC2883159C2}" dt="2024-09-03T09:33:39.285" v="246"/>
          <ac:grpSpMkLst>
            <pc:docMk/>
            <pc:sldMasterMk cId="175845273" sldId="2147483703"/>
            <ac:grpSpMk id="11" creationId="{2435BEE9-C42F-8B55-9D08-629188FBB24A}"/>
          </ac:grpSpMkLst>
        </pc:grpChg>
        <pc:graphicFrameChg chg="add">
          <ac:chgData name="Andreea Paraschiv" userId="a9add99a-823d-48e8-a331-b66eb867776f" providerId="ADAL" clId="{035A241D-5968-4284-B4B6-3DC2883159C2}" dt="2024-09-03T09:33:39.285" v="246"/>
          <ac:graphicFrameMkLst>
            <pc:docMk/>
            <pc:sldMasterMk cId="175845273" sldId="2147483703"/>
            <ac:graphicFrameMk id="8" creationId="{4AD4E598-F25A-4A68-25A6-65CFD68DD6CE}"/>
          </ac:graphicFrameMkLst>
        </pc:graphicFrameChg>
        <pc:picChg chg="add">
          <ac:chgData name="Andreea Paraschiv" userId="a9add99a-823d-48e8-a331-b66eb867776f" providerId="ADAL" clId="{035A241D-5968-4284-B4B6-3DC2883159C2}" dt="2024-09-03T09:33:39.285" v="246"/>
          <ac:picMkLst>
            <pc:docMk/>
            <pc:sldMasterMk cId="175845273" sldId="2147483703"/>
            <ac:picMk id="15" creationId="{56ADB83F-C069-CE32-46AB-CFA2309FDA8B}"/>
          </ac:picMkLst>
        </pc:picChg>
      </pc:sldMasterChg>
      <pc:sldMasterChg chg="addSp">
        <pc:chgData name="Andreea Paraschiv" userId="a9add99a-823d-48e8-a331-b66eb867776f" providerId="ADAL" clId="{035A241D-5968-4284-B4B6-3DC2883159C2}" dt="2024-09-03T09:34:04.842" v="275"/>
        <pc:sldMasterMkLst>
          <pc:docMk/>
          <pc:sldMasterMk cId="1098163896" sldId="2147483708"/>
        </pc:sldMasterMkLst>
        <pc:spChg chg="add">
          <ac:chgData name="Andreea Paraschiv" userId="a9add99a-823d-48e8-a331-b66eb867776f" providerId="ADAL" clId="{035A241D-5968-4284-B4B6-3DC2883159C2}" dt="2024-09-03T09:34:04.842" v="275"/>
          <ac:spMkLst>
            <pc:docMk/>
            <pc:sldMasterMk cId="1098163896" sldId="2147483708"/>
            <ac:spMk id="9" creationId="{E69E3F9D-0407-FD2A-C378-B3F58939EFFE}"/>
          </ac:spMkLst>
        </pc:spChg>
        <pc:spChg chg="add">
          <ac:chgData name="Andreea Paraschiv" userId="a9add99a-823d-48e8-a331-b66eb867776f" providerId="ADAL" clId="{035A241D-5968-4284-B4B6-3DC2883159C2}" dt="2024-09-03T09:34:04.842" v="275"/>
          <ac:spMkLst>
            <pc:docMk/>
            <pc:sldMasterMk cId="1098163896" sldId="2147483708"/>
            <ac:spMk id="10" creationId="{27FEB384-5B10-1BD2-7C75-79D2014804CD}"/>
          </ac:spMkLst>
        </pc:spChg>
        <pc:grpChg chg="add">
          <ac:chgData name="Andreea Paraschiv" userId="a9add99a-823d-48e8-a331-b66eb867776f" providerId="ADAL" clId="{035A241D-5968-4284-B4B6-3DC2883159C2}" dt="2024-09-03T09:34:04.842" v="275"/>
          <ac:grpSpMkLst>
            <pc:docMk/>
            <pc:sldMasterMk cId="1098163896" sldId="2147483708"/>
            <ac:grpSpMk id="11" creationId="{E833DD27-340E-8131-8176-51525E016C4B}"/>
          </ac:grpSpMkLst>
        </pc:grpChg>
        <pc:graphicFrameChg chg="add">
          <ac:chgData name="Andreea Paraschiv" userId="a9add99a-823d-48e8-a331-b66eb867776f" providerId="ADAL" clId="{035A241D-5968-4284-B4B6-3DC2883159C2}" dt="2024-09-03T09:34:04.842" v="275"/>
          <ac:graphicFrameMkLst>
            <pc:docMk/>
            <pc:sldMasterMk cId="1098163896" sldId="2147483708"/>
            <ac:graphicFrameMk id="7" creationId="{F5A7F138-D88D-C973-A6F0-3EEA8D0D9898}"/>
          </ac:graphicFrameMkLst>
        </pc:graphicFrameChg>
        <pc:picChg chg="add">
          <ac:chgData name="Andreea Paraschiv" userId="a9add99a-823d-48e8-a331-b66eb867776f" providerId="ADAL" clId="{035A241D-5968-4284-B4B6-3DC2883159C2}" dt="2024-09-03T09:34:04.842" v="275"/>
          <ac:picMkLst>
            <pc:docMk/>
            <pc:sldMasterMk cId="1098163896" sldId="2147483708"/>
            <ac:picMk id="15" creationId="{53A78B54-F211-538F-960A-CA734010A749}"/>
          </ac:picMkLst>
        </pc:picChg>
      </pc:sldMasterChg>
      <pc:sldMasterChg chg="addSp">
        <pc:chgData name="Andreea Paraschiv" userId="a9add99a-823d-48e8-a331-b66eb867776f" providerId="ADAL" clId="{035A241D-5968-4284-B4B6-3DC2883159C2}" dt="2024-09-03T09:33:40.756" v="255"/>
        <pc:sldMasterMkLst>
          <pc:docMk/>
          <pc:sldMasterMk cId="1114779723" sldId="2147483727"/>
        </pc:sldMasterMkLst>
        <pc:spChg chg="add">
          <ac:chgData name="Andreea Paraschiv" userId="a9add99a-823d-48e8-a331-b66eb867776f" providerId="ADAL" clId="{035A241D-5968-4284-B4B6-3DC2883159C2}" dt="2024-09-03T09:33:40.756" v="255"/>
          <ac:spMkLst>
            <pc:docMk/>
            <pc:sldMasterMk cId="1114779723" sldId="2147483727"/>
            <ac:spMk id="9" creationId="{C9C5B162-FA16-F0CD-6C87-926F36656F3E}"/>
          </ac:spMkLst>
        </pc:spChg>
        <pc:spChg chg="add">
          <ac:chgData name="Andreea Paraschiv" userId="a9add99a-823d-48e8-a331-b66eb867776f" providerId="ADAL" clId="{035A241D-5968-4284-B4B6-3DC2883159C2}" dt="2024-09-03T09:33:40.756" v="255"/>
          <ac:spMkLst>
            <pc:docMk/>
            <pc:sldMasterMk cId="1114779723" sldId="2147483727"/>
            <ac:spMk id="10" creationId="{EE34856B-CC59-2B86-9175-AB513EBDF172}"/>
          </ac:spMkLst>
        </pc:spChg>
        <pc:grpChg chg="add">
          <ac:chgData name="Andreea Paraschiv" userId="a9add99a-823d-48e8-a331-b66eb867776f" providerId="ADAL" clId="{035A241D-5968-4284-B4B6-3DC2883159C2}" dt="2024-09-03T09:33:40.756" v="255"/>
          <ac:grpSpMkLst>
            <pc:docMk/>
            <pc:sldMasterMk cId="1114779723" sldId="2147483727"/>
            <ac:grpSpMk id="11" creationId="{A4C0806B-D819-75AF-1294-1B339830CDD0}"/>
          </ac:grpSpMkLst>
        </pc:grpChg>
        <pc:graphicFrameChg chg="add">
          <ac:chgData name="Andreea Paraschiv" userId="a9add99a-823d-48e8-a331-b66eb867776f" providerId="ADAL" clId="{035A241D-5968-4284-B4B6-3DC2883159C2}" dt="2024-09-03T09:33:40.756" v="255"/>
          <ac:graphicFrameMkLst>
            <pc:docMk/>
            <pc:sldMasterMk cId="1114779723" sldId="2147483727"/>
            <ac:graphicFrameMk id="8" creationId="{309E1FC0-5236-394E-1DF3-AA6CC8E28E65}"/>
          </ac:graphicFrameMkLst>
        </pc:graphicFrameChg>
        <pc:picChg chg="add">
          <ac:chgData name="Andreea Paraschiv" userId="a9add99a-823d-48e8-a331-b66eb867776f" providerId="ADAL" clId="{035A241D-5968-4284-B4B6-3DC2883159C2}" dt="2024-09-03T09:33:40.756" v="255"/>
          <ac:picMkLst>
            <pc:docMk/>
            <pc:sldMasterMk cId="1114779723" sldId="2147483727"/>
            <ac:picMk id="15" creationId="{1064697D-5059-F988-6FFC-5B704BC7B630}"/>
          </ac:picMkLst>
        </pc:pic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ED0AB7-1533-41B2-A505-7B90993299D6}" type="doc">
      <dgm:prSet loTypeId="urn:microsoft.com/office/officeart/2009/3/layout/HorizontalOrganizationChart" loCatId="hierarchy" qsTypeId="urn:microsoft.com/office/officeart/2005/8/quickstyle/simple1" qsCatId="simple" csTypeId="urn:microsoft.com/office/officeart/2005/8/colors/accent1_3" csCatId="accent1" phldr="1"/>
      <dgm:spPr/>
      <dgm:t>
        <a:bodyPr/>
        <a:lstStyle/>
        <a:p>
          <a:endParaRPr lang="en-US"/>
        </a:p>
      </dgm:t>
    </dgm:pt>
    <dgm:pt modelId="{8A18EC9C-B51E-4989-A40E-54B8D02D3C6B}">
      <dgm:prSet/>
      <dgm:spPr/>
      <dgm:t>
        <a:bodyPr/>
        <a:lstStyle/>
        <a:p>
          <a:r>
            <a:rPr lang="de-DE" dirty="0"/>
            <a:t>Use </a:t>
          </a:r>
          <a:r>
            <a:rPr lang="de-DE" dirty="0" err="1"/>
            <a:t>best</a:t>
          </a:r>
          <a:r>
            <a:rPr lang="de-DE" dirty="0"/>
            <a:t> </a:t>
          </a:r>
          <a:r>
            <a:rPr lang="de-DE" dirty="0" err="1"/>
            <a:t>quality</a:t>
          </a:r>
          <a:r>
            <a:rPr lang="de-DE" dirty="0"/>
            <a:t> </a:t>
          </a:r>
          <a:r>
            <a:rPr lang="de-DE" dirty="0" err="1"/>
            <a:t>components</a:t>
          </a:r>
          <a:endParaRPr lang="en-US" dirty="0"/>
        </a:p>
      </dgm:t>
    </dgm:pt>
    <dgm:pt modelId="{06FB348C-98AE-482F-AAB0-5272DF595AA1}" type="parTrans" cxnId="{138DA75D-DAB3-42B5-9A4F-6E5585CCD645}">
      <dgm:prSet/>
      <dgm:spPr/>
      <dgm:t>
        <a:bodyPr/>
        <a:lstStyle/>
        <a:p>
          <a:endParaRPr lang="en-US"/>
        </a:p>
      </dgm:t>
    </dgm:pt>
    <dgm:pt modelId="{5B531963-0DD6-4F86-BEF5-E41DB628E8B9}" type="sibTrans" cxnId="{138DA75D-DAB3-42B5-9A4F-6E5585CCD645}">
      <dgm:prSet/>
      <dgm:spPr/>
      <dgm:t>
        <a:bodyPr/>
        <a:lstStyle/>
        <a:p>
          <a:endParaRPr lang="en-US"/>
        </a:p>
      </dgm:t>
    </dgm:pt>
    <dgm:pt modelId="{E7DFD0EF-2164-48EE-9616-CF78E820EBD4}">
      <dgm:prSet/>
      <dgm:spPr/>
      <dgm:t>
        <a:bodyPr/>
        <a:lstStyle/>
        <a:p>
          <a:r>
            <a:rPr lang="de-DE" dirty="0"/>
            <a:t>Design </a:t>
          </a:r>
          <a:r>
            <a:rPr lang="de-DE" dirty="0" err="1"/>
            <a:t>long</a:t>
          </a:r>
          <a:r>
            <a:rPr lang="de-DE" dirty="0"/>
            <a:t> </a:t>
          </a:r>
          <a:r>
            <a:rPr lang="de-DE" dirty="0" err="1"/>
            <a:t>lasting</a:t>
          </a:r>
          <a:r>
            <a:rPr lang="de-DE" dirty="0"/>
            <a:t> </a:t>
          </a:r>
          <a:r>
            <a:rPr lang="de-DE" dirty="0" err="1"/>
            <a:t>projects</a:t>
          </a:r>
          <a:endParaRPr lang="en-US" dirty="0"/>
        </a:p>
      </dgm:t>
    </dgm:pt>
    <dgm:pt modelId="{D7DFDFF0-ACC2-48E1-84EA-198FF483DBEC}" type="parTrans" cxnId="{830DE01A-0172-4476-9C10-771D084B6217}">
      <dgm:prSet/>
      <dgm:spPr/>
      <dgm:t>
        <a:bodyPr/>
        <a:lstStyle/>
        <a:p>
          <a:endParaRPr lang="en-US"/>
        </a:p>
      </dgm:t>
    </dgm:pt>
    <dgm:pt modelId="{1992B2BD-0605-4CB4-BDAE-655FABB5629F}" type="sibTrans" cxnId="{830DE01A-0172-4476-9C10-771D084B6217}">
      <dgm:prSet/>
      <dgm:spPr/>
      <dgm:t>
        <a:bodyPr/>
        <a:lstStyle/>
        <a:p>
          <a:endParaRPr lang="en-US"/>
        </a:p>
      </dgm:t>
    </dgm:pt>
    <dgm:pt modelId="{1515AA7F-33E9-4593-B320-182BFC03F348}">
      <dgm:prSet/>
      <dgm:spPr/>
      <dgm:t>
        <a:bodyPr/>
        <a:lstStyle/>
        <a:p>
          <a:r>
            <a:rPr lang="de-DE" dirty="0" err="1"/>
            <a:t>Standardization</a:t>
          </a:r>
          <a:r>
            <a:rPr lang="de-DE" dirty="0"/>
            <a:t> </a:t>
          </a:r>
          <a:r>
            <a:rPr lang="de-DE" dirty="0" err="1"/>
            <a:t>of</a:t>
          </a:r>
          <a:r>
            <a:rPr lang="de-DE" dirty="0"/>
            <a:t> </a:t>
          </a:r>
          <a:r>
            <a:rPr lang="de-DE" dirty="0" err="1"/>
            <a:t>concepts</a:t>
          </a:r>
          <a:endParaRPr lang="en-US" dirty="0"/>
        </a:p>
      </dgm:t>
    </dgm:pt>
    <dgm:pt modelId="{D4CF5B29-7D42-4CB2-90BB-F270BF68FCB8}" type="parTrans" cxnId="{A3BD327C-FB03-426E-94B1-77CA0A04040B}">
      <dgm:prSet/>
      <dgm:spPr/>
      <dgm:t>
        <a:bodyPr/>
        <a:lstStyle/>
        <a:p>
          <a:endParaRPr lang="en-US"/>
        </a:p>
      </dgm:t>
    </dgm:pt>
    <dgm:pt modelId="{79472546-3DBE-4F58-B7A5-31DEA1A25C06}" type="sibTrans" cxnId="{A3BD327C-FB03-426E-94B1-77CA0A04040B}">
      <dgm:prSet/>
      <dgm:spPr/>
      <dgm:t>
        <a:bodyPr/>
        <a:lstStyle/>
        <a:p>
          <a:endParaRPr lang="en-US"/>
        </a:p>
      </dgm:t>
    </dgm:pt>
    <dgm:pt modelId="{D8F2FBAC-9454-4617-8075-CA042699F769}">
      <dgm:prSet/>
      <dgm:spPr/>
      <dgm:t>
        <a:bodyPr/>
        <a:lstStyle/>
        <a:p>
          <a:r>
            <a:rPr lang="de-DE"/>
            <a:t>Flexibility on spare parts &amp; suppliers</a:t>
          </a:r>
          <a:endParaRPr lang="en-US"/>
        </a:p>
      </dgm:t>
    </dgm:pt>
    <dgm:pt modelId="{E27C1CF6-5777-4ED0-9C5C-EFD4312E0ADC}" type="parTrans" cxnId="{383CF694-5E60-495A-8F86-8E95F3DE45EB}">
      <dgm:prSet/>
      <dgm:spPr/>
      <dgm:t>
        <a:bodyPr/>
        <a:lstStyle/>
        <a:p>
          <a:endParaRPr lang="en-US"/>
        </a:p>
      </dgm:t>
    </dgm:pt>
    <dgm:pt modelId="{FB289115-9C53-4ABD-8696-5D097754F52A}" type="sibTrans" cxnId="{383CF694-5E60-495A-8F86-8E95F3DE45EB}">
      <dgm:prSet/>
      <dgm:spPr/>
      <dgm:t>
        <a:bodyPr/>
        <a:lstStyle/>
        <a:p>
          <a:endParaRPr lang="en-US"/>
        </a:p>
      </dgm:t>
    </dgm:pt>
    <dgm:pt modelId="{E2E5ACE9-1BC0-4058-B19D-63FED5C78413}">
      <dgm:prSet/>
      <dgm:spPr/>
      <dgm:t>
        <a:bodyPr/>
        <a:lstStyle/>
        <a:p>
          <a:r>
            <a:rPr lang="de-DE"/>
            <a:t>Thorough engineering</a:t>
          </a:r>
          <a:endParaRPr lang="en-US"/>
        </a:p>
      </dgm:t>
    </dgm:pt>
    <dgm:pt modelId="{A86C6108-8014-41B1-8292-84959BA96520}" type="parTrans" cxnId="{1FD42396-45D2-464D-9B25-0DF385295DFD}">
      <dgm:prSet/>
      <dgm:spPr/>
      <dgm:t>
        <a:bodyPr/>
        <a:lstStyle/>
        <a:p>
          <a:endParaRPr lang="en-US"/>
        </a:p>
      </dgm:t>
    </dgm:pt>
    <dgm:pt modelId="{60B736E7-C924-4709-9745-6889A54B6A5E}" type="sibTrans" cxnId="{1FD42396-45D2-464D-9B25-0DF385295DFD}">
      <dgm:prSet/>
      <dgm:spPr/>
      <dgm:t>
        <a:bodyPr/>
        <a:lstStyle/>
        <a:p>
          <a:endParaRPr lang="en-US"/>
        </a:p>
      </dgm:t>
    </dgm:pt>
    <dgm:pt modelId="{96BF2AB5-ACEF-4A5C-8EA5-D368CFA48E4F}" type="pres">
      <dgm:prSet presAssocID="{C0ED0AB7-1533-41B2-A505-7B90993299D6}" presName="hierChild1" presStyleCnt="0">
        <dgm:presLayoutVars>
          <dgm:orgChart val="1"/>
          <dgm:chPref val="1"/>
          <dgm:dir/>
          <dgm:animOne val="branch"/>
          <dgm:animLvl val="lvl"/>
          <dgm:resizeHandles/>
        </dgm:presLayoutVars>
      </dgm:prSet>
      <dgm:spPr/>
    </dgm:pt>
    <dgm:pt modelId="{DE289FFE-7569-4503-AB70-C22AEFDAC0E9}" type="pres">
      <dgm:prSet presAssocID="{8A18EC9C-B51E-4989-A40E-54B8D02D3C6B}" presName="hierRoot1" presStyleCnt="0">
        <dgm:presLayoutVars>
          <dgm:hierBranch val="init"/>
        </dgm:presLayoutVars>
      </dgm:prSet>
      <dgm:spPr/>
    </dgm:pt>
    <dgm:pt modelId="{5C72163D-0B60-4249-9E13-3EB7FFB5FDEA}" type="pres">
      <dgm:prSet presAssocID="{8A18EC9C-B51E-4989-A40E-54B8D02D3C6B}" presName="rootComposite1" presStyleCnt="0"/>
      <dgm:spPr/>
    </dgm:pt>
    <dgm:pt modelId="{C7847D88-61EA-4847-8B20-D54C0DEB0D63}" type="pres">
      <dgm:prSet presAssocID="{8A18EC9C-B51E-4989-A40E-54B8D02D3C6B}" presName="rootText1" presStyleLbl="node0" presStyleIdx="0" presStyleCnt="2">
        <dgm:presLayoutVars>
          <dgm:chPref val="3"/>
        </dgm:presLayoutVars>
      </dgm:prSet>
      <dgm:spPr/>
    </dgm:pt>
    <dgm:pt modelId="{136145B0-D9CC-4CB1-93CA-7A4F332B9CF6}" type="pres">
      <dgm:prSet presAssocID="{8A18EC9C-B51E-4989-A40E-54B8D02D3C6B}" presName="rootConnector1" presStyleLbl="node1" presStyleIdx="0" presStyleCnt="0"/>
      <dgm:spPr/>
    </dgm:pt>
    <dgm:pt modelId="{68D22A95-943E-48A5-8E1E-576DD96C3845}" type="pres">
      <dgm:prSet presAssocID="{8A18EC9C-B51E-4989-A40E-54B8D02D3C6B}" presName="hierChild2" presStyleCnt="0"/>
      <dgm:spPr/>
    </dgm:pt>
    <dgm:pt modelId="{9DAB82D6-A928-421E-8528-7D0C0752FE30}" type="pres">
      <dgm:prSet presAssocID="{8A18EC9C-B51E-4989-A40E-54B8D02D3C6B}" presName="hierChild3" presStyleCnt="0"/>
      <dgm:spPr/>
    </dgm:pt>
    <dgm:pt modelId="{30818FA1-B812-4FE2-A796-EEF831918D73}" type="pres">
      <dgm:prSet presAssocID="{E7DFD0EF-2164-48EE-9616-CF78E820EBD4}" presName="hierRoot1" presStyleCnt="0">
        <dgm:presLayoutVars>
          <dgm:hierBranch val="init"/>
        </dgm:presLayoutVars>
      </dgm:prSet>
      <dgm:spPr/>
    </dgm:pt>
    <dgm:pt modelId="{82A3B775-579E-4297-9249-298C78550719}" type="pres">
      <dgm:prSet presAssocID="{E7DFD0EF-2164-48EE-9616-CF78E820EBD4}" presName="rootComposite1" presStyleCnt="0"/>
      <dgm:spPr/>
    </dgm:pt>
    <dgm:pt modelId="{708A02B5-8CE1-4C74-827C-F45BF55BAAF3}" type="pres">
      <dgm:prSet presAssocID="{E7DFD0EF-2164-48EE-9616-CF78E820EBD4}" presName="rootText1" presStyleLbl="node0" presStyleIdx="1" presStyleCnt="2">
        <dgm:presLayoutVars>
          <dgm:chPref val="3"/>
        </dgm:presLayoutVars>
      </dgm:prSet>
      <dgm:spPr/>
    </dgm:pt>
    <dgm:pt modelId="{1EEC16E3-CE17-4776-86B5-3F2581E10182}" type="pres">
      <dgm:prSet presAssocID="{E7DFD0EF-2164-48EE-9616-CF78E820EBD4}" presName="rootConnector1" presStyleLbl="node1" presStyleIdx="0" presStyleCnt="0"/>
      <dgm:spPr/>
    </dgm:pt>
    <dgm:pt modelId="{7D814F7A-9A3D-4BBB-AA9E-9DC5D211CE9E}" type="pres">
      <dgm:prSet presAssocID="{E7DFD0EF-2164-48EE-9616-CF78E820EBD4}" presName="hierChild2" presStyleCnt="0"/>
      <dgm:spPr/>
    </dgm:pt>
    <dgm:pt modelId="{E0544D6F-6DAA-48C5-A7B6-E6B4BA89EC12}" type="pres">
      <dgm:prSet presAssocID="{D4CF5B29-7D42-4CB2-90BB-F270BF68FCB8}" presName="Name64" presStyleLbl="parChTrans1D2" presStyleIdx="0" presStyleCnt="3"/>
      <dgm:spPr/>
    </dgm:pt>
    <dgm:pt modelId="{DC6B96AA-AC0C-4EB1-86B8-77857882178E}" type="pres">
      <dgm:prSet presAssocID="{1515AA7F-33E9-4593-B320-182BFC03F348}" presName="hierRoot2" presStyleCnt="0">
        <dgm:presLayoutVars>
          <dgm:hierBranch val="init"/>
        </dgm:presLayoutVars>
      </dgm:prSet>
      <dgm:spPr/>
    </dgm:pt>
    <dgm:pt modelId="{F29AD6D6-41AB-4400-8A0B-361FB1867F61}" type="pres">
      <dgm:prSet presAssocID="{1515AA7F-33E9-4593-B320-182BFC03F348}" presName="rootComposite" presStyleCnt="0"/>
      <dgm:spPr/>
    </dgm:pt>
    <dgm:pt modelId="{8B4C9D5A-90EE-4CFE-9569-F9D6AEA40A31}" type="pres">
      <dgm:prSet presAssocID="{1515AA7F-33E9-4593-B320-182BFC03F348}" presName="rootText" presStyleLbl="node2" presStyleIdx="0" presStyleCnt="3">
        <dgm:presLayoutVars>
          <dgm:chPref val="3"/>
        </dgm:presLayoutVars>
      </dgm:prSet>
      <dgm:spPr/>
    </dgm:pt>
    <dgm:pt modelId="{2FCA5E5C-B96A-47BA-AA98-23079B47D446}" type="pres">
      <dgm:prSet presAssocID="{1515AA7F-33E9-4593-B320-182BFC03F348}" presName="rootConnector" presStyleLbl="node2" presStyleIdx="0" presStyleCnt="3"/>
      <dgm:spPr/>
    </dgm:pt>
    <dgm:pt modelId="{A7883471-8BBC-46B7-93B9-5A65F99BE112}" type="pres">
      <dgm:prSet presAssocID="{1515AA7F-33E9-4593-B320-182BFC03F348}" presName="hierChild4" presStyleCnt="0"/>
      <dgm:spPr/>
    </dgm:pt>
    <dgm:pt modelId="{5BF5A1C8-8F54-4E8A-A6E1-82B16E63CFF2}" type="pres">
      <dgm:prSet presAssocID="{1515AA7F-33E9-4593-B320-182BFC03F348}" presName="hierChild5" presStyleCnt="0"/>
      <dgm:spPr/>
    </dgm:pt>
    <dgm:pt modelId="{C741EB40-B5A1-41EB-A171-CEC5888C7B0A}" type="pres">
      <dgm:prSet presAssocID="{E27C1CF6-5777-4ED0-9C5C-EFD4312E0ADC}" presName="Name64" presStyleLbl="parChTrans1D2" presStyleIdx="1" presStyleCnt="3"/>
      <dgm:spPr/>
    </dgm:pt>
    <dgm:pt modelId="{C2C79C8E-554B-4C30-A40E-9C1062192877}" type="pres">
      <dgm:prSet presAssocID="{D8F2FBAC-9454-4617-8075-CA042699F769}" presName="hierRoot2" presStyleCnt="0">
        <dgm:presLayoutVars>
          <dgm:hierBranch val="init"/>
        </dgm:presLayoutVars>
      </dgm:prSet>
      <dgm:spPr/>
    </dgm:pt>
    <dgm:pt modelId="{3C4796F7-E0D7-418D-9D87-9A7934E5757A}" type="pres">
      <dgm:prSet presAssocID="{D8F2FBAC-9454-4617-8075-CA042699F769}" presName="rootComposite" presStyleCnt="0"/>
      <dgm:spPr/>
    </dgm:pt>
    <dgm:pt modelId="{C32938CE-F5E1-45A6-BEB2-B4607CF51220}" type="pres">
      <dgm:prSet presAssocID="{D8F2FBAC-9454-4617-8075-CA042699F769}" presName="rootText" presStyleLbl="node2" presStyleIdx="1" presStyleCnt="3">
        <dgm:presLayoutVars>
          <dgm:chPref val="3"/>
        </dgm:presLayoutVars>
      </dgm:prSet>
      <dgm:spPr/>
    </dgm:pt>
    <dgm:pt modelId="{759B33BC-E4F2-434D-BA76-E82C867608A0}" type="pres">
      <dgm:prSet presAssocID="{D8F2FBAC-9454-4617-8075-CA042699F769}" presName="rootConnector" presStyleLbl="node2" presStyleIdx="1" presStyleCnt="3"/>
      <dgm:spPr/>
    </dgm:pt>
    <dgm:pt modelId="{521192D3-8E80-43D9-89DC-E945EB542916}" type="pres">
      <dgm:prSet presAssocID="{D8F2FBAC-9454-4617-8075-CA042699F769}" presName="hierChild4" presStyleCnt="0"/>
      <dgm:spPr/>
    </dgm:pt>
    <dgm:pt modelId="{DF2C6E1C-4452-4496-9AE8-1105B51C61D2}" type="pres">
      <dgm:prSet presAssocID="{D8F2FBAC-9454-4617-8075-CA042699F769}" presName="hierChild5" presStyleCnt="0"/>
      <dgm:spPr/>
    </dgm:pt>
    <dgm:pt modelId="{B153DF78-1B4C-4107-8EDD-32E982511607}" type="pres">
      <dgm:prSet presAssocID="{A86C6108-8014-41B1-8292-84959BA96520}" presName="Name64" presStyleLbl="parChTrans1D2" presStyleIdx="2" presStyleCnt="3"/>
      <dgm:spPr/>
    </dgm:pt>
    <dgm:pt modelId="{83A2DF47-83E2-4FAC-8B67-6B1CA5D5D0E0}" type="pres">
      <dgm:prSet presAssocID="{E2E5ACE9-1BC0-4058-B19D-63FED5C78413}" presName="hierRoot2" presStyleCnt="0">
        <dgm:presLayoutVars>
          <dgm:hierBranch val="init"/>
        </dgm:presLayoutVars>
      </dgm:prSet>
      <dgm:spPr/>
    </dgm:pt>
    <dgm:pt modelId="{7BCFD3EA-68F8-4034-85CA-76F2B4E8DE8C}" type="pres">
      <dgm:prSet presAssocID="{E2E5ACE9-1BC0-4058-B19D-63FED5C78413}" presName="rootComposite" presStyleCnt="0"/>
      <dgm:spPr/>
    </dgm:pt>
    <dgm:pt modelId="{6B653835-DC39-4EE2-BE9B-38BAE6CE3CF3}" type="pres">
      <dgm:prSet presAssocID="{E2E5ACE9-1BC0-4058-B19D-63FED5C78413}" presName="rootText" presStyleLbl="node2" presStyleIdx="2" presStyleCnt="3">
        <dgm:presLayoutVars>
          <dgm:chPref val="3"/>
        </dgm:presLayoutVars>
      </dgm:prSet>
      <dgm:spPr/>
    </dgm:pt>
    <dgm:pt modelId="{FAB94C1B-A53D-4E99-9CB3-60D093D7DC35}" type="pres">
      <dgm:prSet presAssocID="{E2E5ACE9-1BC0-4058-B19D-63FED5C78413}" presName="rootConnector" presStyleLbl="node2" presStyleIdx="2" presStyleCnt="3"/>
      <dgm:spPr/>
    </dgm:pt>
    <dgm:pt modelId="{9AC76DD2-0BF3-4CF3-ACAB-C3149727ED1C}" type="pres">
      <dgm:prSet presAssocID="{E2E5ACE9-1BC0-4058-B19D-63FED5C78413}" presName="hierChild4" presStyleCnt="0"/>
      <dgm:spPr/>
    </dgm:pt>
    <dgm:pt modelId="{FF426CC7-E93E-4127-8C01-1DE5C34FB036}" type="pres">
      <dgm:prSet presAssocID="{E2E5ACE9-1BC0-4058-B19D-63FED5C78413}" presName="hierChild5" presStyleCnt="0"/>
      <dgm:spPr/>
    </dgm:pt>
    <dgm:pt modelId="{B97105D6-0F9F-43D1-BB64-DFEA0AB45386}" type="pres">
      <dgm:prSet presAssocID="{E7DFD0EF-2164-48EE-9616-CF78E820EBD4}" presName="hierChild3" presStyleCnt="0"/>
      <dgm:spPr/>
    </dgm:pt>
  </dgm:ptLst>
  <dgm:cxnLst>
    <dgm:cxn modelId="{C4F64706-76D7-4FFA-889A-7BF7F4C69A54}" type="presOf" srcId="{E7DFD0EF-2164-48EE-9616-CF78E820EBD4}" destId="{708A02B5-8CE1-4C74-827C-F45BF55BAAF3}" srcOrd="0" destOrd="0" presId="urn:microsoft.com/office/officeart/2009/3/layout/HorizontalOrganizationChart"/>
    <dgm:cxn modelId="{830DE01A-0172-4476-9C10-771D084B6217}" srcId="{C0ED0AB7-1533-41B2-A505-7B90993299D6}" destId="{E7DFD0EF-2164-48EE-9616-CF78E820EBD4}" srcOrd="1" destOrd="0" parTransId="{D7DFDFF0-ACC2-48E1-84EA-198FF483DBEC}" sibTransId="{1992B2BD-0605-4CB4-BDAE-655FABB5629F}"/>
    <dgm:cxn modelId="{63339026-BC97-4468-9E32-81C8FF7875D2}" type="presOf" srcId="{E7DFD0EF-2164-48EE-9616-CF78E820EBD4}" destId="{1EEC16E3-CE17-4776-86B5-3F2581E10182}" srcOrd="1" destOrd="0" presId="urn:microsoft.com/office/officeart/2009/3/layout/HorizontalOrganizationChart"/>
    <dgm:cxn modelId="{01AD5D27-2908-4FA4-BACB-C06D6DFC94D0}" type="presOf" srcId="{8A18EC9C-B51E-4989-A40E-54B8D02D3C6B}" destId="{136145B0-D9CC-4CB1-93CA-7A4F332B9CF6}" srcOrd="1" destOrd="0" presId="urn:microsoft.com/office/officeart/2009/3/layout/HorizontalOrganizationChart"/>
    <dgm:cxn modelId="{138DA75D-DAB3-42B5-9A4F-6E5585CCD645}" srcId="{C0ED0AB7-1533-41B2-A505-7B90993299D6}" destId="{8A18EC9C-B51E-4989-A40E-54B8D02D3C6B}" srcOrd="0" destOrd="0" parTransId="{06FB348C-98AE-482F-AAB0-5272DF595AA1}" sibTransId="{5B531963-0DD6-4F86-BEF5-E41DB628E8B9}"/>
    <dgm:cxn modelId="{56956F42-1F70-45C5-8A17-7E27958CF639}" type="presOf" srcId="{D8F2FBAC-9454-4617-8075-CA042699F769}" destId="{759B33BC-E4F2-434D-BA76-E82C867608A0}" srcOrd="1" destOrd="0" presId="urn:microsoft.com/office/officeart/2009/3/layout/HorizontalOrganizationChart"/>
    <dgm:cxn modelId="{16F41F6E-F221-4435-B7D2-EEA2B63D97C1}" type="presOf" srcId="{D8F2FBAC-9454-4617-8075-CA042699F769}" destId="{C32938CE-F5E1-45A6-BEB2-B4607CF51220}" srcOrd="0" destOrd="0" presId="urn:microsoft.com/office/officeart/2009/3/layout/HorizontalOrganizationChart"/>
    <dgm:cxn modelId="{36D7AA74-E6CD-4EE4-9B97-C2238E2523A9}" type="presOf" srcId="{C0ED0AB7-1533-41B2-A505-7B90993299D6}" destId="{96BF2AB5-ACEF-4A5C-8EA5-D368CFA48E4F}" srcOrd="0" destOrd="0" presId="urn:microsoft.com/office/officeart/2009/3/layout/HorizontalOrganizationChart"/>
    <dgm:cxn modelId="{267B7579-007D-4BC0-B7AE-B8BDF5A8FF42}" type="presOf" srcId="{8A18EC9C-B51E-4989-A40E-54B8D02D3C6B}" destId="{C7847D88-61EA-4847-8B20-D54C0DEB0D63}" srcOrd="0" destOrd="0" presId="urn:microsoft.com/office/officeart/2009/3/layout/HorizontalOrganizationChart"/>
    <dgm:cxn modelId="{A3BD327C-FB03-426E-94B1-77CA0A04040B}" srcId="{E7DFD0EF-2164-48EE-9616-CF78E820EBD4}" destId="{1515AA7F-33E9-4593-B320-182BFC03F348}" srcOrd="0" destOrd="0" parTransId="{D4CF5B29-7D42-4CB2-90BB-F270BF68FCB8}" sibTransId="{79472546-3DBE-4F58-B7A5-31DEA1A25C06}"/>
    <dgm:cxn modelId="{AF93DC87-80C9-4EA9-8D8C-CB300C279A21}" type="presOf" srcId="{D4CF5B29-7D42-4CB2-90BB-F270BF68FCB8}" destId="{E0544D6F-6DAA-48C5-A7B6-E6B4BA89EC12}" srcOrd="0" destOrd="0" presId="urn:microsoft.com/office/officeart/2009/3/layout/HorizontalOrganizationChart"/>
    <dgm:cxn modelId="{A01F2590-0366-4787-AD58-FD8882122CC7}" type="presOf" srcId="{A86C6108-8014-41B1-8292-84959BA96520}" destId="{B153DF78-1B4C-4107-8EDD-32E982511607}" srcOrd="0" destOrd="0" presId="urn:microsoft.com/office/officeart/2009/3/layout/HorizontalOrganizationChart"/>
    <dgm:cxn modelId="{383CF694-5E60-495A-8F86-8E95F3DE45EB}" srcId="{E7DFD0EF-2164-48EE-9616-CF78E820EBD4}" destId="{D8F2FBAC-9454-4617-8075-CA042699F769}" srcOrd="1" destOrd="0" parTransId="{E27C1CF6-5777-4ED0-9C5C-EFD4312E0ADC}" sibTransId="{FB289115-9C53-4ABD-8696-5D097754F52A}"/>
    <dgm:cxn modelId="{1FD42396-45D2-464D-9B25-0DF385295DFD}" srcId="{E7DFD0EF-2164-48EE-9616-CF78E820EBD4}" destId="{E2E5ACE9-1BC0-4058-B19D-63FED5C78413}" srcOrd="2" destOrd="0" parTransId="{A86C6108-8014-41B1-8292-84959BA96520}" sibTransId="{60B736E7-C924-4709-9745-6889A54B6A5E}"/>
    <dgm:cxn modelId="{E675FDA3-D74B-4DEA-A646-4AE9C8C1E42D}" type="presOf" srcId="{1515AA7F-33E9-4593-B320-182BFC03F348}" destId="{2FCA5E5C-B96A-47BA-AA98-23079B47D446}" srcOrd="1" destOrd="0" presId="urn:microsoft.com/office/officeart/2009/3/layout/HorizontalOrganizationChart"/>
    <dgm:cxn modelId="{809D56C0-9778-41E0-9992-E572E7EDC4F4}" type="presOf" srcId="{E2E5ACE9-1BC0-4058-B19D-63FED5C78413}" destId="{FAB94C1B-A53D-4E99-9CB3-60D093D7DC35}" srcOrd="1" destOrd="0" presId="urn:microsoft.com/office/officeart/2009/3/layout/HorizontalOrganizationChart"/>
    <dgm:cxn modelId="{D61BCFCB-C037-4078-9FA7-D20FF48D2E0F}" type="presOf" srcId="{1515AA7F-33E9-4593-B320-182BFC03F348}" destId="{8B4C9D5A-90EE-4CFE-9569-F9D6AEA40A31}" srcOrd="0" destOrd="0" presId="urn:microsoft.com/office/officeart/2009/3/layout/HorizontalOrganizationChart"/>
    <dgm:cxn modelId="{2BADB8E9-9DB9-4658-9A87-4484FB572171}" type="presOf" srcId="{E27C1CF6-5777-4ED0-9C5C-EFD4312E0ADC}" destId="{C741EB40-B5A1-41EB-A171-CEC5888C7B0A}" srcOrd="0" destOrd="0" presId="urn:microsoft.com/office/officeart/2009/3/layout/HorizontalOrganizationChart"/>
    <dgm:cxn modelId="{2A77C6EB-A64E-4E09-B0E7-9D8EA4DDCA10}" type="presOf" srcId="{E2E5ACE9-1BC0-4058-B19D-63FED5C78413}" destId="{6B653835-DC39-4EE2-BE9B-38BAE6CE3CF3}" srcOrd="0" destOrd="0" presId="urn:microsoft.com/office/officeart/2009/3/layout/HorizontalOrganizationChart"/>
    <dgm:cxn modelId="{37FA42A3-1DBD-4636-BDA2-49B94A997F78}" type="presParOf" srcId="{96BF2AB5-ACEF-4A5C-8EA5-D368CFA48E4F}" destId="{DE289FFE-7569-4503-AB70-C22AEFDAC0E9}" srcOrd="0" destOrd="0" presId="urn:microsoft.com/office/officeart/2009/3/layout/HorizontalOrganizationChart"/>
    <dgm:cxn modelId="{28D79574-3C18-403C-90F5-889EBAB164F7}" type="presParOf" srcId="{DE289FFE-7569-4503-AB70-C22AEFDAC0E9}" destId="{5C72163D-0B60-4249-9E13-3EB7FFB5FDEA}" srcOrd="0" destOrd="0" presId="urn:microsoft.com/office/officeart/2009/3/layout/HorizontalOrganizationChart"/>
    <dgm:cxn modelId="{0347F8D0-EC6B-440D-9CDA-250696AAB2F4}" type="presParOf" srcId="{5C72163D-0B60-4249-9E13-3EB7FFB5FDEA}" destId="{C7847D88-61EA-4847-8B20-D54C0DEB0D63}" srcOrd="0" destOrd="0" presId="urn:microsoft.com/office/officeart/2009/3/layout/HorizontalOrganizationChart"/>
    <dgm:cxn modelId="{E2CF30D2-C687-4007-85DB-75320027B981}" type="presParOf" srcId="{5C72163D-0B60-4249-9E13-3EB7FFB5FDEA}" destId="{136145B0-D9CC-4CB1-93CA-7A4F332B9CF6}" srcOrd="1" destOrd="0" presId="urn:microsoft.com/office/officeart/2009/3/layout/HorizontalOrganizationChart"/>
    <dgm:cxn modelId="{2693836B-E31F-4C93-A601-5EB0BA515149}" type="presParOf" srcId="{DE289FFE-7569-4503-AB70-C22AEFDAC0E9}" destId="{68D22A95-943E-48A5-8E1E-576DD96C3845}" srcOrd="1" destOrd="0" presId="urn:microsoft.com/office/officeart/2009/3/layout/HorizontalOrganizationChart"/>
    <dgm:cxn modelId="{9F0260DA-1AE5-4095-A97B-1FF1F17CB397}" type="presParOf" srcId="{DE289FFE-7569-4503-AB70-C22AEFDAC0E9}" destId="{9DAB82D6-A928-421E-8528-7D0C0752FE30}" srcOrd="2" destOrd="0" presId="urn:microsoft.com/office/officeart/2009/3/layout/HorizontalOrganizationChart"/>
    <dgm:cxn modelId="{0ACD40BA-6C49-423A-A546-91D0E4D17DCB}" type="presParOf" srcId="{96BF2AB5-ACEF-4A5C-8EA5-D368CFA48E4F}" destId="{30818FA1-B812-4FE2-A796-EEF831918D73}" srcOrd="1" destOrd="0" presId="urn:microsoft.com/office/officeart/2009/3/layout/HorizontalOrganizationChart"/>
    <dgm:cxn modelId="{EC892AF2-56C2-4A80-AF11-1B9F72FF3A71}" type="presParOf" srcId="{30818FA1-B812-4FE2-A796-EEF831918D73}" destId="{82A3B775-579E-4297-9249-298C78550719}" srcOrd="0" destOrd="0" presId="urn:microsoft.com/office/officeart/2009/3/layout/HorizontalOrganizationChart"/>
    <dgm:cxn modelId="{823D5591-A825-491E-8237-FBED21463988}" type="presParOf" srcId="{82A3B775-579E-4297-9249-298C78550719}" destId="{708A02B5-8CE1-4C74-827C-F45BF55BAAF3}" srcOrd="0" destOrd="0" presId="urn:microsoft.com/office/officeart/2009/3/layout/HorizontalOrganizationChart"/>
    <dgm:cxn modelId="{18A80421-1184-43D9-A906-11B4ED89FD8A}" type="presParOf" srcId="{82A3B775-579E-4297-9249-298C78550719}" destId="{1EEC16E3-CE17-4776-86B5-3F2581E10182}" srcOrd="1" destOrd="0" presId="urn:microsoft.com/office/officeart/2009/3/layout/HorizontalOrganizationChart"/>
    <dgm:cxn modelId="{D4E458BC-50AA-4DEE-A01F-746B1093B925}" type="presParOf" srcId="{30818FA1-B812-4FE2-A796-EEF831918D73}" destId="{7D814F7A-9A3D-4BBB-AA9E-9DC5D211CE9E}" srcOrd="1" destOrd="0" presId="urn:microsoft.com/office/officeart/2009/3/layout/HorizontalOrganizationChart"/>
    <dgm:cxn modelId="{3B400372-1B69-4F27-86C3-11009584599F}" type="presParOf" srcId="{7D814F7A-9A3D-4BBB-AA9E-9DC5D211CE9E}" destId="{E0544D6F-6DAA-48C5-A7B6-E6B4BA89EC12}" srcOrd="0" destOrd="0" presId="urn:microsoft.com/office/officeart/2009/3/layout/HorizontalOrganizationChart"/>
    <dgm:cxn modelId="{7144C874-509A-445B-B869-5180B89AB53A}" type="presParOf" srcId="{7D814F7A-9A3D-4BBB-AA9E-9DC5D211CE9E}" destId="{DC6B96AA-AC0C-4EB1-86B8-77857882178E}" srcOrd="1" destOrd="0" presId="urn:microsoft.com/office/officeart/2009/3/layout/HorizontalOrganizationChart"/>
    <dgm:cxn modelId="{BAAB331A-B06B-4C65-AE78-B3E5381FF2E9}" type="presParOf" srcId="{DC6B96AA-AC0C-4EB1-86B8-77857882178E}" destId="{F29AD6D6-41AB-4400-8A0B-361FB1867F61}" srcOrd="0" destOrd="0" presId="urn:microsoft.com/office/officeart/2009/3/layout/HorizontalOrganizationChart"/>
    <dgm:cxn modelId="{588DB585-8F70-43D0-A2A4-A8CA00706AC2}" type="presParOf" srcId="{F29AD6D6-41AB-4400-8A0B-361FB1867F61}" destId="{8B4C9D5A-90EE-4CFE-9569-F9D6AEA40A31}" srcOrd="0" destOrd="0" presId="urn:microsoft.com/office/officeart/2009/3/layout/HorizontalOrganizationChart"/>
    <dgm:cxn modelId="{083FE5A3-663F-4F41-81DC-53FBA67550AF}" type="presParOf" srcId="{F29AD6D6-41AB-4400-8A0B-361FB1867F61}" destId="{2FCA5E5C-B96A-47BA-AA98-23079B47D446}" srcOrd="1" destOrd="0" presId="urn:microsoft.com/office/officeart/2009/3/layout/HorizontalOrganizationChart"/>
    <dgm:cxn modelId="{AAACEEB3-7A94-4506-8483-BB5F499B2320}" type="presParOf" srcId="{DC6B96AA-AC0C-4EB1-86B8-77857882178E}" destId="{A7883471-8BBC-46B7-93B9-5A65F99BE112}" srcOrd="1" destOrd="0" presId="urn:microsoft.com/office/officeart/2009/3/layout/HorizontalOrganizationChart"/>
    <dgm:cxn modelId="{7E0328A8-7E12-4CFA-9619-AF56F0D59C05}" type="presParOf" srcId="{DC6B96AA-AC0C-4EB1-86B8-77857882178E}" destId="{5BF5A1C8-8F54-4E8A-A6E1-82B16E63CFF2}" srcOrd="2" destOrd="0" presId="urn:microsoft.com/office/officeart/2009/3/layout/HorizontalOrganizationChart"/>
    <dgm:cxn modelId="{0A33D84A-5D7A-4C1C-B6F6-B96642F5C7CF}" type="presParOf" srcId="{7D814F7A-9A3D-4BBB-AA9E-9DC5D211CE9E}" destId="{C741EB40-B5A1-41EB-A171-CEC5888C7B0A}" srcOrd="2" destOrd="0" presId="urn:microsoft.com/office/officeart/2009/3/layout/HorizontalOrganizationChart"/>
    <dgm:cxn modelId="{A2EF8E32-0083-4053-857E-4615435E09DE}" type="presParOf" srcId="{7D814F7A-9A3D-4BBB-AA9E-9DC5D211CE9E}" destId="{C2C79C8E-554B-4C30-A40E-9C1062192877}" srcOrd="3" destOrd="0" presId="urn:microsoft.com/office/officeart/2009/3/layout/HorizontalOrganizationChart"/>
    <dgm:cxn modelId="{524C72B2-EDBB-42D3-87F7-395592AD617E}" type="presParOf" srcId="{C2C79C8E-554B-4C30-A40E-9C1062192877}" destId="{3C4796F7-E0D7-418D-9D87-9A7934E5757A}" srcOrd="0" destOrd="0" presId="urn:microsoft.com/office/officeart/2009/3/layout/HorizontalOrganizationChart"/>
    <dgm:cxn modelId="{76D5AB60-F800-47D5-B180-64FD1EDBBC39}" type="presParOf" srcId="{3C4796F7-E0D7-418D-9D87-9A7934E5757A}" destId="{C32938CE-F5E1-45A6-BEB2-B4607CF51220}" srcOrd="0" destOrd="0" presId="urn:microsoft.com/office/officeart/2009/3/layout/HorizontalOrganizationChart"/>
    <dgm:cxn modelId="{1A09B9C6-CD58-454D-8BF4-30C69283C8AA}" type="presParOf" srcId="{3C4796F7-E0D7-418D-9D87-9A7934E5757A}" destId="{759B33BC-E4F2-434D-BA76-E82C867608A0}" srcOrd="1" destOrd="0" presId="urn:microsoft.com/office/officeart/2009/3/layout/HorizontalOrganizationChart"/>
    <dgm:cxn modelId="{EE1FBB6F-5CAB-4505-B214-BC659856A4FF}" type="presParOf" srcId="{C2C79C8E-554B-4C30-A40E-9C1062192877}" destId="{521192D3-8E80-43D9-89DC-E945EB542916}" srcOrd="1" destOrd="0" presId="urn:microsoft.com/office/officeart/2009/3/layout/HorizontalOrganizationChart"/>
    <dgm:cxn modelId="{03FF50F5-B386-4473-B57C-97332579818C}" type="presParOf" srcId="{C2C79C8E-554B-4C30-A40E-9C1062192877}" destId="{DF2C6E1C-4452-4496-9AE8-1105B51C61D2}" srcOrd="2" destOrd="0" presId="urn:microsoft.com/office/officeart/2009/3/layout/HorizontalOrganizationChart"/>
    <dgm:cxn modelId="{169915B1-412A-4874-8BB2-79E34570035D}" type="presParOf" srcId="{7D814F7A-9A3D-4BBB-AA9E-9DC5D211CE9E}" destId="{B153DF78-1B4C-4107-8EDD-32E982511607}" srcOrd="4" destOrd="0" presId="urn:microsoft.com/office/officeart/2009/3/layout/HorizontalOrganizationChart"/>
    <dgm:cxn modelId="{AC42D85A-A84D-435E-94B5-EB59B85E374D}" type="presParOf" srcId="{7D814F7A-9A3D-4BBB-AA9E-9DC5D211CE9E}" destId="{83A2DF47-83E2-4FAC-8B67-6B1CA5D5D0E0}" srcOrd="5" destOrd="0" presId="urn:microsoft.com/office/officeart/2009/3/layout/HorizontalOrganizationChart"/>
    <dgm:cxn modelId="{FA6AAF87-6415-4D74-BB57-EA3B818D60C4}" type="presParOf" srcId="{83A2DF47-83E2-4FAC-8B67-6B1CA5D5D0E0}" destId="{7BCFD3EA-68F8-4034-85CA-76F2B4E8DE8C}" srcOrd="0" destOrd="0" presId="urn:microsoft.com/office/officeart/2009/3/layout/HorizontalOrganizationChart"/>
    <dgm:cxn modelId="{40728522-951B-4023-975C-9A5A854F8E7D}" type="presParOf" srcId="{7BCFD3EA-68F8-4034-85CA-76F2B4E8DE8C}" destId="{6B653835-DC39-4EE2-BE9B-38BAE6CE3CF3}" srcOrd="0" destOrd="0" presId="urn:microsoft.com/office/officeart/2009/3/layout/HorizontalOrganizationChart"/>
    <dgm:cxn modelId="{E114753A-207F-442D-9F1C-FF85F370F970}" type="presParOf" srcId="{7BCFD3EA-68F8-4034-85CA-76F2B4E8DE8C}" destId="{FAB94C1B-A53D-4E99-9CB3-60D093D7DC35}" srcOrd="1" destOrd="0" presId="urn:microsoft.com/office/officeart/2009/3/layout/HorizontalOrganizationChart"/>
    <dgm:cxn modelId="{5B9A8695-2382-4D3A-91AB-4AB90AD02CB4}" type="presParOf" srcId="{83A2DF47-83E2-4FAC-8B67-6B1CA5D5D0E0}" destId="{9AC76DD2-0BF3-4CF3-ACAB-C3149727ED1C}" srcOrd="1" destOrd="0" presId="urn:microsoft.com/office/officeart/2009/3/layout/HorizontalOrganizationChart"/>
    <dgm:cxn modelId="{95666F0E-729D-4569-936E-EC579A4BC994}" type="presParOf" srcId="{83A2DF47-83E2-4FAC-8B67-6B1CA5D5D0E0}" destId="{FF426CC7-E93E-4127-8C01-1DE5C34FB036}" srcOrd="2" destOrd="0" presId="urn:microsoft.com/office/officeart/2009/3/layout/HorizontalOrganizationChart"/>
    <dgm:cxn modelId="{5F01A1C8-8587-495F-A892-4C2B691FAA5B}" type="presParOf" srcId="{30818FA1-B812-4FE2-A796-EEF831918D73}" destId="{B97105D6-0F9F-43D1-BB64-DFEA0AB45386}"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53DF78-1B4C-4107-8EDD-32E982511607}">
      <dsp:nvSpPr>
        <dsp:cNvPr id="0" name=""/>
        <dsp:cNvSpPr/>
      </dsp:nvSpPr>
      <dsp:spPr>
        <a:xfrm>
          <a:off x="5330961" y="1455396"/>
          <a:ext cx="499341" cy="1073583"/>
        </a:xfrm>
        <a:custGeom>
          <a:avLst/>
          <a:gdLst/>
          <a:ahLst/>
          <a:cxnLst/>
          <a:rect l="0" t="0" r="0" b="0"/>
          <a:pathLst>
            <a:path>
              <a:moveTo>
                <a:pt x="0" y="0"/>
              </a:moveTo>
              <a:lnTo>
                <a:pt x="249670" y="0"/>
              </a:lnTo>
              <a:lnTo>
                <a:pt x="249670" y="1073583"/>
              </a:lnTo>
              <a:lnTo>
                <a:pt x="499341" y="1073583"/>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41EB40-B5A1-41EB-A171-CEC5888C7B0A}">
      <dsp:nvSpPr>
        <dsp:cNvPr id="0" name=""/>
        <dsp:cNvSpPr/>
      </dsp:nvSpPr>
      <dsp:spPr>
        <a:xfrm>
          <a:off x="5330961" y="1409676"/>
          <a:ext cx="499341" cy="91440"/>
        </a:xfrm>
        <a:custGeom>
          <a:avLst/>
          <a:gdLst/>
          <a:ahLst/>
          <a:cxnLst/>
          <a:rect l="0" t="0" r="0" b="0"/>
          <a:pathLst>
            <a:path>
              <a:moveTo>
                <a:pt x="0" y="45720"/>
              </a:moveTo>
              <a:lnTo>
                <a:pt x="499341" y="45720"/>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544D6F-6DAA-48C5-A7B6-E6B4BA89EC12}">
      <dsp:nvSpPr>
        <dsp:cNvPr id="0" name=""/>
        <dsp:cNvSpPr/>
      </dsp:nvSpPr>
      <dsp:spPr>
        <a:xfrm>
          <a:off x="5330961" y="381812"/>
          <a:ext cx="499341" cy="1073583"/>
        </a:xfrm>
        <a:custGeom>
          <a:avLst/>
          <a:gdLst/>
          <a:ahLst/>
          <a:cxnLst/>
          <a:rect l="0" t="0" r="0" b="0"/>
          <a:pathLst>
            <a:path>
              <a:moveTo>
                <a:pt x="0" y="1073583"/>
              </a:moveTo>
              <a:lnTo>
                <a:pt x="249670" y="1073583"/>
              </a:lnTo>
              <a:lnTo>
                <a:pt x="249670" y="0"/>
              </a:lnTo>
              <a:lnTo>
                <a:pt x="499341" y="0"/>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847D88-61EA-4847-8B20-D54C0DEB0D63}">
      <dsp:nvSpPr>
        <dsp:cNvPr id="0" name=""/>
        <dsp:cNvSpPr/>
      </dsp:nvSpPr>
      <dsp:spPr>
        <a:xfrm>
          <a:off x="2834255" y="1065"/>
          <a:ext cx="2496706" cy="761495"/>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e-DE" sz="2300" kern="1200" dirty="0"/>
            <a:t>Use </a:t>
          </a:r>
          <a:r>
            <a:rPr lang="de-DE" sz="2300" kern="1200" dirty="0" err="1"/>
            <a:t>best</a:t>
          </a:r>
          <a:r>
            <a:rPr lang="de-DE" sz="2300" kern="1200" dirty="0"/>
            <a:t> </a:t>
          </a:r>
          <a:r>
            <a:rPr lang="de-DE" sz="2300" kern="1200" dirty="0" err="1"/>
            <a:t>quality</a:t>
          </a:r>
          <a:r>
            <a:rPr lang="de-DE" sz="2300" kern="1200" dirty="0"/>
            <a:t> </a:t>
          </a:r>
          <a:r>
            <a:rPr lang="de-DE" sz="2300" kern="1200" dirty="0" err="1"/>
            <a:t>components</a:t>
          </a:r>
          <a:endParaRPr lang="en-US" sz="2300" kern="1200" dirty="0"/>
        </a:p>
      </dsp:txBody>
      <dsp:txXfrm>
        <a:off x="2834255" y="1065"/>
        <a:ext cx="2496706" cy="761495"/>
      </dsp:txXfrm>
    </dsp:sp>
    <dsp:sp modelId="{708A02B5-8CE1-4C74-827C-F45BF55BAAF3}">
      <dsp:nvSpPr>
        <dsp:cNvPr id="0" name=""/>
        <dsp:cNvSpPr/>
      </dsp:nvSpPr>
      <dsp:spPr>
        <a:xfrm>
          <a:off x="2834255" y="1074648"/>
          <a:ext cx="2496706" cy="761495"/>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e-DE" sz="2300" kern="1200" dirty="0"/>
            <a:t>Design </a:t>
          </a:r>
          <a:r>
            <a:rPr lang="de-DE" sz="2300" kern="1200" dirty="0" err="1"/>
            <a:t>long</a:t>
          </a:r>
          <a:r>
            <a:rPr lang="de-DE" sz="2300" kern="1200" dirty="0"/>
            <a:t> </a:t>
          </a:r>
          <a:r>
            <a:rPr lang="de-DE" sz="2300" kern="1200" dirty="0" err="1"/>
            <a:t>lasting</a:t>
          </a:r>
          <a:r>
            <a:rPr lang="de-DE" sz="2300" kern="1200" dirty="0"/>
            <a:t> </a:t>
          </a:r>
          <a:r>
            <a:rPr lang="de-DE" sz="2300" kern="1200" dirty="0" err="1"/>
            <a:t>projects</a:t>
          </a:r>
          <a:endParaRPr lang="en-US" sz="2300" kern="1200" dirty="0"/>
        </a:p>
      </dsp:txBody>
      <dsp:txXfrm>
        <a:off x="2834255" y="1074648"/>
        <a:ext cx="2496706" cy="761495"/>
      </dsp:txXfrm>
    </dsp:sp>
    <dsp:sp modelId="{8B4C9D5A-90EE-4CFE-9569-F9D6AEA40A31}">
      <dsp:nvSpPr>
        <dsp:cNvPr id="0" name=""/>
        <dsp:cNvSpPr/>
      </dsp:nvSpPr>
      <dsp:spPr>
        <a:xfrm>
          <a:off x="5830302" y="1065"/>
          <a:ext cx="2496706" cy="761495"/>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e-DE" sz="2300" kern="1200" dirty="0" err="1"/>
            <a:t>Standardization</a:t>
          </a:r>
          <a:r>
            <a:rPr lang="de-DE" sz="2300" kern="1200" dirty="0"/>
            <a:t> </a:t>
          </a:r>
          <a:r>
            <a:rPr lang="de-DE" sz="2300" kern="1200" dirty="0" err="1"/>
            <a:t>of</a:t>
          </a:r>
          <a:r>
            <a:rPr lang="de-DE" sz="2300" kern="1200" dirty="0"/>
            <a:t> </a:t>
          </a:r>
          <a:r>
            <a:rPr lang="de-DE" sz="2300" kern="1200" dirty="0" err="1"/>
            <a:t>concepts</a:t>
          </a:r>
          <a:endParaRPr lang="en-US" sz="2300" kern="1200" dirty="0"/>
        </a:p>
      </dsp:txBody>
      <dsp:txXfrm>
        <a:off x="5830302" y="1065"/>
        <a:ext cx="2496706" cy="761495"/>
      </dsp:txXfrm>
    </dsp:sp>
    <dsp:sp modelId="{C32938CE-F5E1-45A6-BEB2-B4607CF51220}">
      <dsp:nvSpPr>
        <dsp:cNvPr id="0" name=""/>
        <dsp:cNvSpPr/>
      </dsp:nvSpPr>
      <dsp:spPr>
        <a:xfrm>
          <a:off x="5830302" y="1074648"/>
          <a:ext cx="2496706" cy="761495"/>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e-DE" sz="2300" kern="1200"/>
            <a:t>Flexibility on spare parts &amp; suppliers</a:t>
          </a:r>
          <a:endParaRPr lang="en-US" sz="2300" kern="1200"/>
        </a:p>
      </dsp:txBody>
      <dsp:txXfrm>
        <a:off x="5830302" y="1074648"/>
        <a:ext cx="2496706" cy="761495"/>
      </dsp:txXfrm>
    </dsp:sp>
    <dsp:sp modelId="{6B653835-DC39-4EE2-BE9B-38BAE6CE3CF3}">
      <dsp:nvSpPr>
        <dsp:cNvPr id="0" name=""/>
        <dsp:cNvSpPr/>
      </dsp:nvSpPr>
      <dsp:spPr>
        <a:xfrm>
          <a:off x="5830302" y="2148232"/>
          <a:ext cx="2496706" cy="761495"/>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de-DE" sz="2300" kern="1200"/>
            <a:t>Thorough engineering</a:t>
          </a:r>
          <a:endParaRPr lang="en-US" sz="2300" kern="1200"/>
        </a:p>
      </dsp:txBody>
      <dsp:txXfrm>
        <a:off x="5830302" y="2148232"/>
        <a:ext cx="2496706" cy="761495"/>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D5CDACB8-B374-4985-A591-31FCFDA8273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bwMode="gray">
          <a:xfrm>
            <a:off x="463542" y="436911"/>
            <a:ext cx="1050250" cy="280522"/>
          </a:xfrm>
          <a:prstGeom prst="rect">
            <a:avLst/>
          </a:prstGeom>
        </p:spPr>
      </p:pic>
      <p:grpSp>
        <p:nvGrpSpPr>
          <p:cNvPr id="27" name="Gruppieren 26">
            <a:extLst>
              <a:ext uri="{FF2B5EF4-FFF2-40B4-BE49-F238E27FC236}">
                <a16:creationId xmlns:a16="http://schemas.microsoft.com/office/drawing/2014/main" id="{7BF3E32E-4C92-4F19-BCAE-DDE2DB9105F2}"/>
              </a:ext>
            </a:extLst>
          </p:cNvPr>
          <p:cNvGrpSpPr/>
          <p:nvPr/>
        </p:nvGrpSpPr>
        <p:grpSpPr bwMode="gray">
          <a:xfrm>
            <a:off x="5027481" y="504834"/>
            <a:ext cx="1185577" cy="181624"/>
            <a:chOff x="1124273" y="4252126"/>
            <a:chExt cx="8928101" cy="1231901"/>
          </a:xfrm>
          <a:solidFill>
            <a:schemeClr val="tx1"/>
          </a:solidFill>
        </p:grpSpPr>
        <p:sp>
          <p:nvSpPr>
            <p:cNvPr id="28" name="Freeform 5">
              <a:extLst>
                <a:ext uri="{FF2B5EF4-FFF2-40B4-BE49-F238E27FC236}">
                  <a16:creationId xmlns:a16="http://schemas.microsoft.com/office/drawing/2014/main" id="{CFE8AAF9-C56A-4CD3-94ED-C7FCB0922677}"/>
                </a:ext>
              </a:extLst>
            </p:cNvPr>
            <p:cNvSpPr>
              <a:spLocks/>
            </p:cNvSpPr>
            <p:nvPr/>
          </p:nvSpPr>
          <p:spPr bwMode="gray">
            <a:xfrm>
              <a:off x="1124273" y="4523589"/>
              <a:ext cx="388938" cy="677863"/>
            </a:xfrm>
            <a:custGeom>
              <a:avLst/>
              <a:gdLst>
                <a:gd name="T0" fmla="*/ 0 w 104"/>
                <a:gd name="T1" fmla="*/ 180 h 180"/>
                <a:gd name="T2" fmla="*/ 0 w 104"/>
                <a:gd name="T3" fmla="*/ 2 h 180"/>
                <a:gd name="T4" fmla="*/ 40 w 104"/>
                <a:gd name="T5" fmla="*/ 2 h 180"/>
                <a:gd name="T6" fmla="*/ 40 w 104"/>
                <a:gd name="T7" fmla="*/ 30 h 180"/>
                <a:gd name="T8" fmla="*/ 89 w 104"/>
                <a:gd name="T9" fmla="*/ 0 h 180"/>
                <a:gd name="T10" fmla="*/ 104 w 104"/>
                <a:gd name="T11" fmla="*/ 2 h 180"/>
                <a:gd name="T12" fmla="*/ 104 w 104"/>
                <a:gd name="T13" fmla="*/ 44 h 180"/>
                <a:gd name="T14" fmla="*/ 84 w 104"/>
                <a:gd name="T15" fmla="*/ 39 h 180"/>
                <a:gd name="T16" fmla="*/ 51 w 104"/>
                <a:gd name="T17" fmla="*/ 57 h 180"/>
                <a:gd name="T18" fmla="*/ 42 w 104"/>
                <a:gd name="T19" fmla="*/ 97 h 180"/>
                <a:gd name="T20" fmla="*/ 42 w 104"/>
                <a:gd name="T21" fmla="*/ 180 h 180"/>
                <a:gd name="T22" fmla="*/ 0 w 104"/>
                <a:gd name="T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80">
                  <a:moveTo>
                    <a:pt x="0" y="180"/>
                  </a:moveTo>
                  <a:cubicBezTo>
                    <a:pt x="0" y="2"/>
                    <a:pt x="0" y="2"/>
                    <a:pt x="0" y="2"/>
                  </a:cubicBezTo>
                  <a:cubicBezTo>
                    <a:pt x="40" y="2"/>
                    <a:pt x="40" y="2"/>
                    <a:pt x="40" y="2"/>
                  </a:cubicBezTo>
                  <a:cubicBezTo>
                    <a:pt x="40" y="30"/>
                    <a:pt x="40" y="30"/>
                    <a:pt x="40" y="30"/>
                  </a:cubicBezTo>
                  <a:cubicBezTo>
                    <a:pt x="51" y="11"/>
                    <a:pt x="64" y="0"/>
                    <a:pt x="89" y="0"/>
                  </a:cubicBezTo>
                  <a:cubicBezTo>
                    <a:pt x="95" y="0"/>
                    <a:pt x="99" y="1"/>
                    <a:pt x="104" y="2"/>
                  </a:cubicBezTo>
                  <a:cubicBezTo>
                    <a:pt x="104" y="44"/>
                    <a:pt x="104" y="44"/>
                    <a:pt x="104" y="44"/>
                  </a:cubicBezTo>
                  <a:cubicBezTo>
                    <a:pt x="98" y="41"/>
                    <a:pt x="92" y="39"/>
                    <a:pt x="84" y="39"/>
                  </a:cubicBezTo>
                  <a:cubicBezTo>
                    <a:pt x="70" y="39"/>
                    <a:pt x="59" y="46"/>
                    <a:pt x="51" y="57"/>
                  </a:cubicBezTo>
                  <a:cubicBezTo>
                    <a:pt x="45" y="66"/>
                    <a:pt x="42" y="78"/>
                    <a:pt x="42" y="97"/>
                  </a:cubicBezTo>
                  <a:cubicBezTo>
                    <a:pt x="42" y="180"/>
                    <a:pt x="42" y="180"/>
                    <a:pt x="42" y="180"/>
                  </a:cubicBezTo>
                  <a:lnTo>
                    <a:pt x="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9" name="Rectangle 6">
              <a:extLst>
                <a:ext uri="{FF2B5EF4-FFF2-40B4-BE49-F238E27FC236}">
                  <a16:creationId xmlns:a16="http://schemas.microsoft.com/office/drawing/2014/main" id="{6B9D48B2-1248-4228-843B-9B10F986476F}"/>
                </a:ext>
              </a:extLst>
            </p:cNvPr>
            <p:cNvSpPr>
              <a:spLocks noChangeArrowheads="1"/>
            </p:cNvSpPr>
            <p:nvPr/>
          </p:nvSpPr>
          <p:spPr bwMode="gray">
            <a:xfrm>
              <a:off x="1590998" y="5006189"/>
              <a:ext cx="157163"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0" name="Freeform 7">
              <a:extLst>
                <a:ext uri="{FF2B5EF4-FFF2-40B4-BE49-F238E27FC236}">
                  <a16:creationId xmlns:a16="http://schemas.microsoft.com/office/drawing/2014/main" id="{B98473E9-F729-44C2-924D-D8FAA61A8C7A}"/>
                </a:ext>
              </a:extLst>
            </p:cNvPr>
            <p:cNvSpPr>
              <a:spLocks noEditPoints="1"/>
            </p:cNvSpPr>
            <p:nvPr/>
          </p:nvSpPr>
          <p:spPr bwMode="gray">
            <a:xfrm>
              <a:off x="1865636" y="4512476"/>
              <a:ext cx="620713" cy="708025"/>
            </a:xfrm>
            <a:custGeom>
              <a:avLst/>
              <a:gdLst>
                <a:gd name="T0" fmla="*/ 165 w 166"/>
                <a:gd name="T1" fmla="*/ 138 h 188"/>
                <a:gd name="T2" fmla="*/ 88 w 166"/>
                <a:gd name="T3" fmla="*/ 188 h 188"/>
                <a:gd name="T4" fmla="*/ 0 w 166"/>
                <a:gd name="T5" fmla="*/ 92 h 188"/>
                <a:gd name="T6" fmla="*/ 86 w 166"/>
                <a:gd name="T7" fmla="*/ 0 h 188"/>
                <a:gd name="T8" fmla="*/ 166 w 166"/>
                <a:gd name="T9" fmla="*/ 105 h 188"/>
                <a:gd name="T10" fmla="*/ 42 w 166"/>
                <a:gd name="T11" fmla="*/ 105 h 188"/>
                <a:gd name="T12" fmla="*/ 88 w 166"/>
                <a:gd name="T13" fmla="*/ 153 h 188"/>
                <a:gd name="T14" fmla="*/ 128 w 166"/>
                <a:gd name="T15" fmla="*/ 125 h 188"/>
                <a:gd name="T16" fmla="*/ 165 w 166"/>
                <a:gd name="T17" fmla="*/ 138 h 188"/>
                <a:gd name="T18" fmla="*/ 124 w 166"/>
                <a:gd name="T19" fmla="*/ 75 h 188"/>
                <a:gd name="T20" fmla="*/ 85 w 166"/>
                <a:gd name="T21" fmla="*/ 33 h 188"/>
                <a:gd name="T22" fmla="*/ 42 w 166"/>
                <a:gd name="T23" fmla="*/ 75 h 188"/>
                <a:gd name="T24" fmla="*/ 124 w 166"/>
                <a:gd name="T25" fmla="*/ 7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88">
                  <a:moveTo>
                    <a:pt x="165" y="138"/>
                  </a:moveTo>
                  <a:cubicBezTo>
                    <a:pt x="152" y="170"/>
                    <a:pt x="125" y="188"/>
                    <a:pt x="88" y="188"/>
                  </a:cubicBezTo>
                  <a:cubicBezTo>
                    <a:pt x="31" y="188"/>
                    <a:pt x="0" y="151"/>
                    <a:pt x="0" y="92"/>
                  </a:cubicBezTo>
                  <a:cubicBezTo>
                    <a:pt x="0" y="36"/>
                    <a:pt x="34" y="0"/>
                    <a:pt x="86" y="0"/>
                  </a:cubicBezTo>
                  <a:cubicBezTo>
                    <a:pt x="142" y="0"/>
                    <a:pt x="166" y="41"/>
                    <a:pt x="166" y="105"/>
                  </a:cubicBezTo>
                  <a:cubicBezTo>
                    <a:pt x="42" y="105"/>
                    <a:pt x="42" y="105"/>
                    <a:pt x="42" y="105"/>
                  </a:cubicBezTo>
                  <a:cubicBezTo>
                    <a:pt x="44" y="135"/>
                    <a:pt x="60" y="153"/>
                    <a:pt x="88" y="153"/>
                  </a:cubicBezTo>
                  <a:cubicBezTo>
                    <a:pt x="107" y="153"/>
                    <a:pt x="122" y="146"/>
                    <a:pt x="128" y="125"/>
                  </a:cubicBezTo>
                  <a:lnTo>
                    <a:pt x="165" y="138"/>
                  </a:lnTo>
                  <a:close/>
                  <a:moveTo>
                    <a:pt x="124" y="75"/>
                  </a:moveTo>
                  <a:cubicBezTo>
                    <a:pt x="122" y="47"/>
                    <a:pt x="108" y="33"/>
                    <a:pt x="85" y="33"/>
                  </a:cubicBezTo>
                  <a:cubicBezTo>
                    <a:pt x="62" y="33"/>
                    <a:pt x="45" y="47"/>
                    <a:pt x="42" y="75"/>
                  </a:cubicBezTo>
                  <a:lnTo>
                    <a:pt x="12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1" name="Rectangle 8">
              <a:extLst>
                <a:ext uri="{FF2B5EF4-FFF2-40B4-BE49-F238E27FC236}">
                  <a16:creationId xmlns:a16="http://schemas.microsoft.com/office/drawing/2014/main" id="{E034A2FF-57CA-4A1A-84E8-EEEE345B4B3D}"/>
                </a:ext>
              </a:extLst>
            </p:cNvPr>
            <p:cNvSpPr>
              <a:spLocks noChangeArrowheads="1"/>
            </p:cNvSpPr>
            <p:nvPr/>
          </p:nvSpPr>
          <p:spPr bwMode="gray">
            <a:xfrm>
              <a:off x="2599061" y="5006189"/>
              <a:ext cx="152400"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2" name="Freeform 9">
              <a:extLst>
                <a:ext uri="{FF2B5EF4-FFF2-40B4-BE49-F238E27FC236}">
                  <a16:creationId xmlns:a16="http://schemas.microsoft.com/office/drawing/2014/main" id="{C4BC84F1-C5AC-4606-A6A9-3576FA36D32E}"/>
                </a:ext>
              </a:extLst>
            </p:cNvPr>
            <p:cNvSpPr>
              <a:spLocks/>
            </p:cNvSpPr>
            <p:nvPr/>
          </p:nvSpPr>
          <p:spPr bwMode="gray">
            <a:xfrm>
              <a:off x="2837186" y="4317214"/>
              <a:ext cx="393700" cy="896938"/>
            </a:xfrm>
            <a:custGeom>
              <a:avLst/>
              <a:gdLst>
                <a:gd name="T0" fmla="*/ 105 w 105"/>
                <a:gd name="T1" fmla="*/ 234 h 238"/>
                <a:gd name="T2" fmla="*/ 74 w 105"/>
                <a:gd name="T3" fmla="*/ 238 h 238"/>
                <a:gd name="T4" fmla="*/ 37 w 105"/>
                <a:gd name="T5" fmla="*/ 225 h 238"/>
                <a:gd name="T6" fmla="*/ 27 w 105"/>
                <a:gd name="T7" fmla="*/ 188 h 238"/>
                <a:gd name="T8" fmla="*/ 27 w 105"/>
                <a:gd name="T9" fmla="*/ 91 h 238"/>
                <a:gd name="T10" fmla="*/ 0 w 105"/>
                <a:gd name="T11" fmla="*/ 91 h 238"/>
                <a:gd name="T12" fmla="*/ 0 w 105"/>
                <a:gd name="T13" fmla="*/ 57 h 238"/>
                <a:gd name="T14" fmla="*/ 28 w 105"/>
                <a:gd name="T15" fmla="*/ 57 h 238"/>
                <a:gd name="T16" fmla="*/ 28 w 105"/>
                <a:gd name="T17" fmla="*/ 0 h 238"/>
                <a:gd name="T18" fmla="*/ 70 w 105"/>
                <a:gd name="T19" fmla="*/ 0 h 238"/>
                <a:gd name="T20" fmla="*/ 70 w 105"/>
                <a:gd name="T21" fmla="*/ 57 h 238"/>
                <a:gd name="T22" fmla="*/ 104 w 105"/>
                <a:gd name="T23" fmla="*/ 57 h 238"/>
                <a:gd name="T24" fmla="*/ 104 w 105"/>
                <a:gd name="T25" fmla="*/ 91 h 238"/>
                <a:gd name="T26" fmla="*/ 70 w 105"/>
                <a:gd name="T27" fmla="*/ 91 h 238"/>
                <a:gd name="T28" fmla="*/ 70 w 105"/>
                <a:gd name="T29" fmla="*/ 180 h 238"/>
                <a:gd name="T30" fmla="*/ 88 w 105"/>
                <a:gd name="T31" fmla="*/ 204 h 238"/>
                <a:gd name="T32" fmla="*/ 105 w 105"/>
                <a:gd name="T33" fmla="*/ 201 h 238"/>
                <a:gd name="T34" fmla="*/ 105 w 105"/>
                <a:gd name="T35"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38">
                  <a:moveTo>
                    <a:pt x="105" y="234"/>
                  </a:moveTo>
                  <a:cubicBezTo>
                    <a:pt x="95" y="236"/>
                    <a:pt x="84" y="238"/>
                    <a:pt x="74" y="238"/>
                  </a:cubicBezTo>
                  <a:cubicBezTo>
                    <a:pt x="56" y="238"/>
                    <a:pt x="45" y="234"/>
                    <a:pt x="37" y="225"/>
                  </a:cubicBezTo>
                  <a:cubicBezTo>
                    <a:pt x="30" y="217"/>
                    <a:pt x="27" y="204"/>
                    <a:pt x="27" y="188"/>
                  </a:cubicBezTo>
                  <a:cubicBezTo>
                    <a:pt x="27" y="91"/>
                    <a:pt x="27" y="91"/>
                    <a:pt x="27" y="91"/>
                  </a:cubicBezTo>
                  <a:cubicBezTo>
                    <a:pt x="0" y="91"/>
                    <a:pt x="0" y="91"/>
                    <a:pt x="0" y="91"/>
                  </a:cubicBezTo>
                  <a:cubicBezTo>
                    <a:pt x="0" y="57"/>
                    <a:pt x="0" y="57"/>
                    <a:pt x="0" y="57"/>
                  </a:cubicBezTo>
                  <a:cubicBezTo>
                    <a:pt x="28" y="57"/>
                    <a:pt x="28" y="57"/>
                    <a:pt x="28" y="57"/>
                  </a:cubicBezTo>
                  <a:cubicBezTo>
                    <a:pt x="28" y="0"/>
                    <a:pt x="28" y="0"/>
                    <a:pt x="28" y="0"/>
                  </a:cubicBezTo>
                  <a:cubicBezTo>
                    <a:pt x="70" y="0"/>
                    <a:pt x="70" y="0"/>
                    <a:pt x="70" y="0"/>
                  </a:cubicBezTo>
                  <a:cubicBezTo>
                    <a:pt x="70" y="57"/>
                    <a:pt x="70" y="57"/>
                    <a:pt x="70" y="57"/>
                  </a:cubicBezTo>
                  <a:cubicBezTo>
                    <a:pt x="104" y="57"/>
                    <a:pt x="104" y="57"/>
                    <a:pt x="104" y="57"/>
                  </a:cubicBezTo>
                  <a:cubicBezTo>
                    <a:pt x="104" y="91"/>
                    <a:pt x="104" y="91"/>
                    <a:pt x="104" y="91"/>
                  </a:cubicBezTo>
                  <a:cubicBezTo>
                    <a:pt x="70" y="91"/>
                    <a:pt x="70" y="91"/>
                    <a:pt x="70" y="91"/>
                  </a:cubicBezTo>
                  <a:cubicBezTo>
                    <a:pt x="70" y="180"/>
                    <a:pt x="70" y="180"/>
                    <a:pt x="70" y="180"/>
                  </a:cubicBezTo>
                  <a:cubicBezTo>
                    <a:pt x="70" y="198"/>
                    <a:pt x="75" y="204"/>
                    <a:pt x="88" y="204"/>
                  </a:cubicBezTo>
                  <a:cubicBezTo>
                    <a:pt x="93" y="204"/>
                    <a:pt x="99" y="203"/>
                    <a:pt x="105" y="201"/>
                  </a:cubicBezTo>
                  <a:lnTo>
                    <a:pt x="105"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3" name="Freeform 10">
              <a:extLst>
                <a:ext uri="{FF2B5EF4-FFF2-40B4-BE49-F238E27FC236}">
                  <a16:creationId xmlns:a16="http://schemas.microsoft.com/office/drawing/2014/main" id="{A6A1F202-38C2-4F33-8781-070F75AC542C}"/>
                </a:ext>
              </a:extLst>
            </p:cNvPr>
            <p:cNvSpPr>
              <a:spLocks/>
            </p:cNvSpPr>
            <p:nvPr/>
          </p:nvSpPr>
          <p:spPr bwMode="gray">
            <a:xfrm>
              <a:off x="3324548" y="4252126"/>
              <a:ext cx="576263" cy="949325"/>
            </a:xfrm>
            <a:custGeom>
              <a:avLst/>
              <a:gdLst>
                <a:gd name="T0" fmla="*/ 112 w 154"/>
                <a:gd name="T1" fmla="*/ 252 h 252"/>
                <a:gd name="T2" fmla="*/ 112 w 154"/>
                <a:gd name="T3" fmla="*/ 150 h 252"/>
                <a:gd name="T4" fmla="*/ 105 w 154"/>
                <a:gd name="T5" fmla="*/ 118 h 252"/>
                <a:gd name="T6" fmla="*/ 82 w 154"/>
                <a:gd name="T7" fmla="*/ 109 h 252"/>
                <a:gd name="T8" fmla="*/ 52 w 154"/>
                <a:gd name="T9" fmla="*/ 124 h 252"/>
                <a:gd name="T10" fmla="*/ 42 w 154"/>
                <a:gd name="T11" fmla="*/ 166 h 252"/>
                <a:gd name="T12" fmla="*/ 42 w 154"/>
                <a:gd name="T13" fmla="*/ 252 h 252"/>
                <a:gd name="T14" fmla="*/ 0 w 154"/>
                <a:gd name="T15" fmla="*/ 252 h 252"/>
                <a:gd name="T16" fmla="*/ 0 w 154"/>
                <a:gd name="T17" fmla="*/ 0 h 252"/>
                <a:gd name="T18" fmla="*/ 41 w 154"/>
                <a:gd name="T19" fmla="*/ 0 h 252"/>
                <a:gd name="T20" fmla="*/ 41 w 154"/>
                <a:gd name="T21" fmla="*/ 101 h 252"/>
                <a:gd name="T22" fmla="*/ 100 w 154"/>
                <a:gd name="T23" fmla="*/ 71 h 252"/>
                <a:gd name="T24" fmla="*/ 143 w 154"/>
                <a:gd name="T25" fmla="*/ 90 h 252"/>
                <a:gd name="T26" fmla="*/ 154 w 154"/>
                <a:gd name="T27" fmla="*/ 142 h 252"/>
                <a:gd name="T28" fmla="*/ 154 w 154"/>
                <a:gd name="T29" fmla="*/ 252 h 252"/>
                <a:gd name="T30" fmla="*/ 112 w 154"/>
                <a:gd name="T3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252">
                  <a:moveTo>
                    <a:pt x="112" y="252"/>
                  </a:moveTo>
                  <a:cubicBezTo>
                    <a:pt x="112" y="150"/>
                    <a:pt x="112" y="150"/>
                    <a:pt x="112" y="150"/>
                  </a:cubicBezTo>
                  <a:cubicBezTo>
                    <a:pt x="112" y="135"/>
                    <a:pt x="111" y="125"/>
                    <a:pt x="105" y="118"/>
                  </a:cubicBezTo>
                  <a:cubicBezTo>
                    <a:pt x="100" y="111"/>
                    <a:pt x="93" y="109"/>
                    <a:pt x="82" y="109"/>
                  </a:cubicBezTo>
                  <a:cubicBezTo>
                    <a:pt x="71" y="109"/>
                    <a:pt x="59" y="115"/>
                    <a:pt x="52" y="124"/>
                  </a:cubicBezTo>
                  <a:cubicBezTo>
                    <a:pt x="43" y="136"/>
                    <a:pt x="42" y="149"/>
                    <a:pt x="42" y="166"/>
                  </a:cubicBezTo>
                  <a:cubicBezTo>
                    <a:pt x="42" y="252"/>
                    <a:pt x="42" y="252"/>
                    <a:pt x="42" y="252"/>
                  </a:cubicBezTo>
                  <a:cubicBezTo>
                    <a:pt x="0" y="252"/>
                    <a:pt x="0" y="252"/>
                    <a:pt x="0" y="252"/>
                  </a:cubicBezTo>
                  <a:cubicBezTo>
                    <a:pt x="0" y="0"/>
                    <a:pt x="0" y="0"/>
                    <a:pt x="0" y="0"/>
                  </a:cubicBezTo>
                  <a:cubicBezTo>
                    <a:pt x="41" y="0"/>
                    <a:pt x="41" y="0"/>
                    <a:pt x="41" y="0"/>
                  </a:cubicBezTo>
                  <a:cubicBezTo>
                    <a:pt x="41" y="101"/>
                    <a:pt x="41" y="101"/>
                    <a:pt x="41" y="101"/>
                  </a:cubicBezTo>
                  <a:cubicBezTo>
                    <a:pt x="54" y="83"/>
                    <a:pt x="75" y="71"/>
                    <a:pt x="100" y="71"/>
                  </a:cubicBezTo>
                  <a:cubicBezTo>
                    <a:pt x="121" y="71"/>
                    <a:pt x="134" y="78"/>
                    <a:pt x="143" y="90"/>
                  </a:cubicBezTo>
                  <a:cubicBezTo>
                    <a:pt x="151" y="101"/>
                    <a:pt x="154" y="115"/>
                    <a:pt x="154" y="142"/>
                  </a:cubicBezTo>
                  <a:cubicBezTo>
                    <a:pt x="154" y="252"/>
                    <a:pt x="154" y="252"/>
                    <a:pt x="154" y="252"/>
                  </a:cubicBezTo>
                  <a:lnTo>
                    <a:pt x="112"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4" name="Freeform 11">
              <a:extLst>
                <a:ext uri="{FF2B5EF4-FFF2-40B4-BE49-F238E27FC236}">
                  <a16:creationId xmlns:a16="http://schemas.microsoft.com/office/drawing/2014/main" id="{713B5AD8-B2C6-40E7-8764-F99AFB42004C}"/>
                </a:ext>
              </a:extLst>
            </p:cNvPr>
            <p:cNvSpPr>
              <a:spLocks noEditPoints="1"/>
            </p:cNvSpPr>
            <p:nvPr/>
          </p:nvSpPr>
          <p:spPr bwMode="gray">
            <a:xfrm>
              <a:off x="4053211" y="4252126"/>
              <a:ext cx="157163" cy="949325"/>
            </a:xfrm>
            <a:custGeom>
              <a:avLst/>
              <a:gdLst>
                <a:gd name="T0" fmla="*/ 0 w 99"/>
                <a:gd name="T1" fmla="*/ 95 h 598"/>
                <a:gd name="T2" fmla="*/ 0 w 99"/>
                <a:gd name="T3" fmla="*/ 0 h 598"/>
                <a:gd name="T4" fmla="*/ 99 w 99"/>
                <a:gd name="T5" fmla="*/ 0 h 598"/>
                <a:gd name="T6" fmla="*/ 99 w 99"/>
                <a:gd name="T7" fmla="*/ 95 h 598"/>
                <a:gd name="T8" fmla="*/ 0 w 99"/>
                <a:gd name="T9" fmla="*/ 95 h 598"/>
                <a:gd name="T10" fmla="*/ 99 w 99"/>
                <a:gd name="T11" fmla="*/ 598 h 598"/>
                <a:gd name="T12" fmla="*/ 0 w 99"/>
                <a:gd name="T13" fmla="*/ 598 h 598"/>
                <a:gd name="T14" fmla="*/ 0 w 99"/>
                <a:gd name="T15" fmla="*/ 176 h 598"/>
                <a:gd name="T16" fmla="*/ 99 w 99"/>
                <a:gd name="T17" fmla="*/ 176 h 598"/>
                <a:gd name="T18" fmla="*/ 99 w 99"/>
                <a:gd name="T19"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98">
                  <a:moveTo>
                    <a:pt x="0" y="95"/>
                  </a:moveTo>
                  <a:lnTo>
                    <a:pt x="0" y="0"/>
                  </a:lnTo>
                  <a:lnTo>
                    <a:pt x="99" y="0"/>
                  </a:lnTo>
                  <a:lnTo>
                    <a:pt x="99" y="95"/>
                  </a:lnTo>
                  <a:lnTo>
                    <a:pt x="0" y="95"/>
                  </a:lnTo>
                  <a:close/>
                  <a:moveTo>
                    <a:pt x="99" y="598"/>
                  </a:moveTo>
                  <a:lnTo>
                    <a:pt x="0" y="598"/>
                  </a:lnTo>
                  <a:lnTo>
                    <a:pt x="0" y="176"/>
                  </a:lnTo>
                  <a:lnTo>
                    <a:pt x="99" y="176"/>
                  </a:lnTo>
                  <a:lnTo>
                    <a:pt x="99"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5" name="Freeform 12">
              <a:extLst>
                <a:ext uri="{FF2B5EF4-FFF2-40B4-BE49-F238E27FC236}">
                  <a16:creationId xmlns:a16="http://schemas.microsoft.com/office/drawing/2014/main" id="{515E106B-0E0B-4BA6-8A2E-25381F83C283}"/>
                </a:ext>
              </a:extLst>
            </p:cNvPr>
            <p:cNvSpPr>
              <a:spLocks/>
            </p:cNvSpPr>
            <p:nvPr/>
          </p:nvSpPr>
          <p:spPr bwMode="gray">
            <a:xfrm>
              <a:off x="4375473" y="4520414"/>
              <a:ext cx="576263" cy="681038"/>
            </a:xfrm>
            <a:custGeom>
              <a:avLst/>
              <a:gdLst>
                <a:gd name="T0" fmla="*/ 112 w 154"/>
                <a:gd name="T1" fmla="*/ 181 h 181"/>
                <a:gd name="T2" fmla="*/ 112 w 154"/>
                <a:gd name="T3" fmla="*/ 79 h 181"/>
                <a:gd name="T4" fmla="*/ 106 w 154"/>
                <a:gd name="T5" fmla="*/ 48 h 181"/>
                <a:gd name="T6" fmla="*/ 82 w 154"/>
                <a:gd name="T7" fmla="*/ 38 h 181"/>
                <a:gd name="T8" fmla="*/ 52 w 154"/>
                <a:gd name="T9" fmla="*/ 53 h 181"/>
                <a:gd name="T10" fmla="*/ 41 w 154"/>
                <a:gd name="T11" fmla="*/ 95 h 181"/>
                <a:gd name="T12" fmla="*/ 41 w 154"/>
                <a:gd name="T13" fmla="*/ 181 h 181"/>
                <a:gd name="T14" fmla="*/ 0 w 154"/>
                <a:gd name="T15" fmla="*/ 181 h 181"/>
                <a:gd name="T16" fmla="*/ 0 w 154"/>
                <a:gd name="T17" fmla="*/ 3 h 181"/>
                <a:gd name="T18" fmla="*/ 41 w 154"/>
                <a:gd name="T19" fmla="*/ 3 h 181"/>
                <a:gd name="T20" fmla="*/ 41 w 154"/>
                <a:gd name="T21" fmla="*/ 30 h 181"/>
                <a:gd name="T22" fmla="*/ 100 w 154"/>
                <a:gd name="T23" fmla="*/ 0 h 181"/>
                <a:gd name="T24" fmla="*/ 144 w 154"/>
                <a:gd name="T25" fmla="*/ 21 h 181"/>
                <a:gd name="T26" fmla="*/ 154 w 154"/>
                <a:gd name="T27" fmla="*/ 70 h 181"/>
                <a:gd name="T28" fmla="*/ 154 w 154"/>
                <a:gd name="T29" fmla="*/ 181 h 181"/>
                <a:gd name="T30" fmla="*/ 112 w 154"/>
                <a:gd name="T3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1">
                  <a:moveTo>
                    <a:pt x="112" y="181"/>
                  </a:moveTo>
                  <a:cubicBezTo>
                    <a:pt x="112" y="79"/>
                    <a:pt x="112" y="79"/>
                    <a:pt x="112" y="79"/>
                  </a:cubicBezTo>
                  <a:cubicBezTo>
                    <a:pt x="112" y="65"/>
                    <a:pt x="111" y="55"/>
                    <a:pt x="106" y="48"/>
                  </a:cubicBezTo>
                  <a:cubicBezTo>
                    <a:pt x="101" y="41"/>
                    <a:pt x="93" y="38"/>
                    <a:pt x="82" y="38"/>
                  </a:cubicBezTo>
                  <a:cubicBezTo>
                    <a:pt x="70" y="38"/>
                    <a:pt x="59" y="44"/>
                    <a:pt x="52" y="53"/>
                  </a:cubicBezTo>
                  <a:cubicBezTo>
                    <a:pt x="43" y="65"/>
                    <a:pt x="41" y="78"/>
                    <a:pt x="41" y="95"/>
                  </a:cubicBezTo>
                  <a:cubicBezTo>
                    <a:pt x="41" y="181"/>
                    <a:pt x="41" y="181"/>
                    <a:pt x="41" y="181"/>
                  </a:cubicBezTo>
                  <a:cubicBezTo>
                    <a:pt x="0" y="181"/>
                    <a:pt x="0" y="181"/>
                    <a:pt x="0" y="181"/>
                  </a:cubicBezTo>
                  <a:cubicBezTo>
                    <a:pt x="0" y="3"/>
                    <a:pt x="0" y="3"/>
                    <a:pt x="0" y="3"/>
                  </a:cubicBezTo>
                  <a:cubicBezTo>
                    <a:pt x="41" y="3"/>
                    <a:pt x="41" y="3"/>
                    <a:pt x="41" y="3"/>
                  </a:cubicBezTo>
                  <a:cubicBezTo>
                    <a:pt x="41" y="30"/>
                    <a:pt x="41" y="30"/>
                    <a:pt x="41" y="30"/>
                  </a:cubicBezTo>
                  <a:cubicBezTo>
                    <a:pt x="54" y="12"/>
                    <a:pt x="75" y="0"/>
                    <a:pt x="100" y="0"/>
                  </a:cubicBezTo>
                  <a:cubicBezTo>
                    <a:pt x="121" y="0"/>
                    <a:pt x="135" y="8"/>
                    <a:pt x="144" y="21"/>
                  </a:cubicBezTo>
                  <a:cubicBezTo>
                    <a:pt x="151" y="32"/>
                    <a:pt x="154" y="46"/>
                    <a:pt x="154" y="70"/>
                  </a:cubicBezTo>
                  <a:cubicBezTo>
                    <a:pt x="154" y="181"/>
                    <a:pt x="154" y="181"/>
                    <a:pt x="154" y="181"/>
                  </a:cubicBezTo>
                  <a:lnTo>
                    <a:pt x="112"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6" name="Freeform 13">
              <a:extLst>
                <a:ext uri="{FF2B5EF4-FFF2-40B4-BE49-F238E27FC236}">
                  <a16:creationId xmlns:a16="http://schemas.microsoft.com/office/drawing/2014/main" id="{922E8197-C860-4F74-A4E8-4396BECF3412}"/>
                </a:ext>
              </a:extLst>
            </p:cNvPr>
            <p:cNvSpPr>
              <a:spLocks/>
            </p:cNvSpPr>
            <p:nvPr/>
          </p:nvSpPr>
          <p:spPr bwMode="gray">
            <a:xfrm>
              <a:off x="5105723" y="4252126"/>
              <a:ext cx="617538" cy="949325"/>
            </a:xfrm>
            <a:custGeom>
              <a:avLst/>
              <a:gdLst>
                <a:gd name="T0" fmla="*/ 276 w 389"/>
                <a:gd name="T1" fmla="*/ 598 h 598"/>
                <a:gd name="T2" fmla="*/ 158 w 389"/>
                <a:gd name="T3" fmla="*/ 406 h 598"/>
                <a:gd name="T4" fmla="*/ 97 w 389"/>
                <a:gd name="T5" fmla="*/ 470 h 598"/>
                <a:gd name="T6" fmla="*/ 97 w 389"/>
                <a:gd name="T7" fmla="*/ 598 h 598"/>
                <a:gd name="T8" fmla="*/ 0 w 389"/>
                <a:gd name="T9" fmla="*/ 598 h 598"/>
                <a:gd name="T10" fmla="*/ 0 w 389"/>
                <a:gd name="T11" fmla="*/ 0 h 598"/>
                <a:gd name="T12" fmla="*/ 97 w 389"/>
                <a:gd name="T13" fmla="*/ 0 h 598"/>
                <a:gd name="T14" fmla="*/ 97 w 389"/>
                <a:gd name="T15" fmla="*/ 356 h 598"/>
                <a:gd name="T16" fmla="*/ 257 w 389"/>
                <a:gd name="T17" fmla="*/ 176 h 598"/>
                <a:gd name="T18" fmla="*/ 375 w 389"/>
                <a:gd name="T19" fmla="*/ 176 h 598"/>
                <a:gd name="T20" fmla="*/ 229 w 389"/>
                <a:gd name="T21" fmla="*/ 337 h 598"/>
                <a:gd name="T22" fmla="*/ 389 w 389"/>
                <a:gd name="T23" fmla="*/ 598 h 598"/>
                <a:gd name="T24" fmla="*/ 276 w 389"/>
                <a:gd name="T25"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598">
                  <a:moveTo>
                    <a:pt x="276" y="598"/>
                  </a:moveTo>
                  <a:lnTo>
                    <a:pt x="158" y="406"/>
                  </a:lnTo>
                  <a:lnTo>
                    <a:pt x="97" y="470"/>
                  </a:lnTo>
                  <a:lnTo>
                    <a:pt x="97" y="598"/>
                  </a:lnTo>
                  <a:lnTo>
                    <a:pt x="0" y="598"/>
                  </a:lnTo>
                  <a:lnTo>
                    <a:pt x="0" y="0"/>
                  </a:lnTo>
                  <a:lnTo>
                    <a:pt x="97" y="0"/>
                  </a:lnTo>
                  <a:lnTo>
                    <a:pt x="97" y="356"/>
                  </a:lnTo>
                  <a:lnTo>
                    <a:pt x="257" y="176"/>
                  </a:lnTo>
                  <a:lnTo>
                    <a:pt x="375" y="176"/>
                  </a:lnTo>
                  <a:lnTo>
                    <a:pt x="229" y="337"/>
                  </a:lnTo>
                  <a:lnTo>
                    <a:pt x="389" y="598"/>
                  </a:lnTo>
                  <a:lnTo>
                    <a:pt x="276"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7" name="Freeform 14">
              <a:extLst>
                <a:ext uri="{FF2B5EF4-FFF2-40B4-BE49-F238E27FC236}">
                  <a16:creationId xmlns:a16="http://schemas.microsoft.com/office/drawing/2014/main" id="{BCA32EB9-D8F6-4355-8A88-D67232231B7A}"/>
                </a:ext>
              </a:extLst>
            </p:cNvPr>
            <p:cNvSpPr>
              <a:spLocks noEditPoints="1"/>
            </p:cNvSpPr>
            <p:nvPr/>
          </p:nvSpPr>
          <p:spPr bwMode="gray">
            <a:xfrm>
              <a:off x="6067748" y="4512476"/>
              <a:ext cx="620713" cy="708025"/>
            </a:xfrm>
            <a:custGeom>
              <a:avLst/>
              <a:gdLst>
                <a:gd name="T0" fmla="*/ 165 w 166"/>
                <a:gd name="T1" fmla="*/ 138 h 188"/>
                <a:gd name="T2" fmla="*/ 88 w 166"/>
                <a:gd name="T3" fmla="*/ 188 h 188"/>
                <a:gd name="T4" fmla="*/ 0 w 166"/>
                <a:gd name="T5" fmla="*/ 92 h 188"/>
                <a:gd name="T6" fmla="*/ 86 w 166"/>
                <a:gd name="T7" fmla="*/ 0 h 188"/>
                <a:gd name="T8" fmla="*/ 166 w 166"/>
                <a:gd name="T9" fmla="*/ 105 h 188"/>
                <a:gd name="T10" fmla="*/ 42 w 166"/>
                <a:gd name="T11" fmla="*/ 105 h 188"/>
                <a:gd name="T12" fmla="*/ 89 w 166"/>
                <a:gd name="T13" fmla="*/ 153 h 188"/>
                <a:gd name="T14" fmla="*/ 128 w 166"/>
                <a:gd name="T15" fmla="*/ 125 h 188"/>
                <a:gd name="T16" fmla="*/ 165 w 166"/>
                <a:gd name="T17" fmla="*/ 138 h 188"/>
                <a:gd name="T18" fmla="*/ 124 w 166"/>
                <a:gd name="T19" fmla="*/ 75 h 188"/>
                <a:gd name="T20" fmla="*/ 85 w 166"/>
                <a:gd name="T21" fmla="*/ 33 h 188"/>
                <a:gd name="T22" fmla="*/ 43 w 166"/>
                <a:gd name="T23" fmla="*/ 75 h 188"/>
                <a:gd name="T24" fmla="*/ 124 w 166"/>
                <a:gd name="T25" fmla="*/ 7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88">
                  <a:moveTo>
                    <a:pt x="165" y="138"/>
                  </a:moveTo>
                  <a:cubicBezTo>
                    <a:pt x="152" y="170"/>
                    <a:pt x="125" y="188"/>
                    <a:pt x="88" y="188"/>
                  </a:cubicBezTo>
                  <a:cubicBezTo>
                    <a:pt x="31" y="188"/>
                    <a:pt x="0" y="151"/>
                    <a:pt x="0" y="92"/>
                  </a:cubicBezTo>
                  <a:cubicBezTo>
                    <a:pt x="0" y="36"/>
                    <a:pt x="35" y="0"/>
                    <a:pt x="86" y="0"/>
                  </a:cubicBezTo>
                  <a:cubicBezTo>
                    <a:pt x="142" y="0"/>
                    <a:pt x="166" y="41"/>
                    <a:pt x="166" y="105"/>
                  </a:cubicBezTo>
                  <a:cubicBezTo>
                    <a:pt x="42" y="105"/>
                    <a:pt x="42" y="105"/>
                    <a:pt x="42" y="105"/>
                  </a:cubicBezTo>
                  <a:cubicBezTo>
                    <a:pt x="44" y="135"/>
                    <a:pt x="60" y="153"/>
                    <a:pt x="89" y="153"/>
                  </a:cubicBezTo>
                  <a:cubicBezTo>
                    <a:pt x="107" y="153"/>
                    <a:pt x="122" y="146"/>
                    <a:pt x="128" y="125"/>
                  </a:cubicBezTo>
                  <a:lnTo>
                    <a:pt x="165" y="138"/>
                  </a:lnTo>
                  <a:close/>
                  <a:moveTo>
                    <a:pt x="124" y="75"/>
                  </a:moveTo>
                  <a:cubicBezTo>
                    <a:pt x="122" y="47"/>
                    <a:pt x="108" y="33"/>
                    <a:pt x="85" y="33"/>
                  </a:cubicBezTo>
                  <a:cubicBezTo>
                    <a:pt x="62" y="33"/>
                    <a:pt x="46" y="47"/>
                    <a:pt x="43" y="75"/>
                  </a:cubicBezTo>
                  <a:lnTo>
                    <a:pt x="12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8" name="Freeform 15">
              <a:extLst>
                <a:ext uri="{FF2B5EF4-FFF2-40B4-BE49-F238E27FC236}">
                  <a16:creationId xmlns:a16="http://schemas.microsoft.com/office/drawing/2014/main" id="{9AD64800-8606-4CD7-A379-293F79AFEFC6}"/>
                </a:ext>
              </a:extLst>
            </p:cNvPr>
            <p:cNvSpPr>
              <a:spLocks/>
            </p:cNvSpPr>
            <p:nvPr/>
          </p:nvSpPr>
          <p:spPr bwMode="gray">
            <a:xfrm>
              <a:off x="6807523" y="4520414"/>
              <a:ext cx="581025" cy="681038"/>
            </a:xfrm>
            <a:custGeom>
              <a:avLst/>
              <a:gdLst>
                <a:gd name="T0" fmla="*/ 113 w 155"/>
                <a:gd name="T1" fmla="*/ 181 h 181"/>
                <a:gd name="T2" fmla="*/ 113 w 155"/>
                <a:gd name="T3" fmla="*/ 79 h 181"/>
                <a:gd name="T4" fmla="*/ 107 w 155"/>
                <a:gd name="T5" fmla="*/ 48 h 181"/>
                <a:gd name="T6" fmla="*/ 83 w 155"/>
                <a:gd name="T7" fmla="*/ 38 h 181"/>
                <a:gd name="T8" fmla="*/ 52 w 155"/>
                <a:gd name="T9" fmla="*/ 53 h 181"/>
                <a:gd name="T10" fmla="*/ 42 w 155"/>
                <a:gd name="T11" fmla="*/ 95 h 181"/>
                <a:gd name="T12" fmla="*/ 42 w 155"/>
                <a:gd name="T13" fmla="*/ 181 h 181"/>
                <a:gd name="T14" fmla="*/ 0 w 155"/>
                <a:gd name="T15" fmla="*/ 181 h 181"/>
                <a:gd name="T16" fmla="*/ 0 w 155"/>
                <a:gd name="T17" fmla="*/ 3 h 181"/>
                <a:gd name="T18" fmla="*/ 42 w 155"/>
                <a:gd name="T19" fmla="*/ 3 h 181"/>
                <a:gd name="T20" fmla="*/ 42 w 155"/>
                <a:gd name="T21" fmla="*/ 30 h 181"/>
                <a:gd name="T22" fmla="*/ 100 w 155"/>
                <a:gd name="T23" fmla="*/ 0 h 181"/>
                <a:gd name="T24" fmla="*/ 145 w 155"/>
                <a:gd name="T25" fmla="*/ 21 h 181"/>
                <a:gd name="T26" fmla="*/ 155 w 155"/>
                <a:gd name="T27" fmla="*/ 70 h 181"/>
                <a:gd name="T28" fmla="*/ 155 w 155"/>
                <a:gd name="T29" fmla="*/ 181 h 181"/>
                <a:gd name="T30" fmla="*/ 113 w 155"/>
                <a:gd name="T3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81">
                  <a:moveTo>
                    <a:pt x="113" y="181"/>
                  </a:moveTo>
                  <a:cubicBezTo>
                    <a:pt x="113" y="79"/>
                    <a:pt x="113" y="79"/>
                    <a:pt x="113" y="79"/>
                  </a:cubicBezTo>
                  <a:cubicBezTo>
                    <a:pt x="113" y="65"/>
                    <a:pt x="111" y="55"/>
                    <a:pt x="107" y="48"/>
                  </a:cubicBezTo>
                  <a:cubicBezTo>
                    <a:pt x="102" y="41"/>
                    <a:pt x="94" y="38"/>
                    <a:pt x="83" y="38"/>
                  </a:cubicBezTo>
                  <a:cubicBezTo>
                    <a:pt x="71" y="38"/>
                    <a:pt x="60" y="44"/>
                    <a:pt x="52" y="53"/>
                  </a:cubicBezTo>
                  <a:cubicBezTo>
                    <a:pt x="44" y="65"/>
                    <a:pt x="42" y="78"/>
                    <a:pt x="42" y="95"/>
                  </a:cubicBezTo>
                  <a:cubicBezTo>
                    <a:pt x="42" y="181"/>
                    <a:pt x="42" y="181"/>
                    <a:pt x="42" y="181"/>
                  </a:cubicBezTo>
                  <a:cubicBezTo>
                    <a:pt x="0" y="181"/>
                    <a:pt x="0" y="181"/>
                    <a:pt x="0" y="181"/>
                  </a:cubicBezTo>
                  <a:cubicBezTo>
                    <a:pt x="0" y="3"/>
                    <a:pt x="0" y="3"/>
                    <a:pt x="0" y="3"/>
                  </a:cubicBezTo>
                  <a:cubicBezTo>
                    <a:pt x="42" y="3"/>
                    <a:pt x="42" y="3"/>
                    <a:pt x="42" y="3"/>
                  </a:cubicBezTo>
                  <a:cubicBezTo>
                    <a:pt x="42" y="30"/>
                    <a:pt x="42" y="30"/>
                    <a:pt x="42" y="30"/>
                  </a:cubicBezTo>
                  <a:cubicBezTo>
                    <a:pt x="55" y="12"/>
                    <a:pt x="76" y="0"/>
                    <a:pt x="100" y="0"/>
                  </a:cubicBezTo>
                  <a:cubicBezTo>
                    <a:pt x="122" y="0"/>
                    <a:pt x="136" y="8"/>
                    <a:pt x="145" y="21"/>
                  </a:cubicBezTo>
                  <a:cubicBezTo>
                    <a:pt x="152" y="32"/>
                    <a:pt x="155" y="46"/>
                    <a:pt x="155" y="70"/>
                  </a:cubicBezTo>
                  <a:cubicBezTo>
                    <a:pt x="155" y="181"/>
                    <a:pt x="155" y="181"/>
                    <a:pt x="155" y="181"/>
                  </a:cubicBezTo>
                  <a:lnTo>
                    <a:pt x="11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39" name="Freeform 16">
              <a:extLst>
                <a:ext uri="{FF2B5EF4-FFF2-40B4-BE49-F238E27FC236}">
                  <a16:creationId xmlns:a16="http://schemas.microsoft.com/office/drawing/2014/main" id="{3D7FA838-EC23-49DE-8030-BE3BA2B7A83E}"/>
                </a:ext>
              </a:extLst>
            </p:cNvPr>
            <p:cNvSpPr>
              <a:spLocks noEditPoints="1"/>
            </p:cNvSpPr>
            <p:nvPr/>
          </p:nvSpPr>
          <p:spPr bwMode="gray">
            <a:xfrm>
              <a:off x="7504436" y="4512476"/>
              <a:ext cx="620713" cy="708025"/>
            </a:xfrm>
            <a:custGeom>
              <a:avLst/>
              <a:gdLst>
                <a:gd name="T0" fmla="*/ 165 w 166"/>
                <a:gd name="T1" fmla="*/ 138 h 188"/>
                <a:gd name="T2" fmla="*/ 88 w 166"/>
                <a:gd name="T3" fmla="*/ 188 h 188"/>
                <a:gd name="T4" fmla="*/ 0 w 166"/>
                <a:gd name="T5" fmla="*/ 92 h 188"/>
                <a:gd name="T6" fmla="*/ 86 w 166"/>
                <a:gd name="T7" fmla="*/ 0 h 188"/>
                <a:gd name="T8" fmla="*/ 166 w 166"/>
                <a:gd name="T9" fmla="*/ 105 h 188"/>
                <a:gd name="T10" fmla="*/ 42 w 166"/>
                <a:gd name="T11" fmla="*/ 105 h 188"/>
                <a:gd name="T12" fmla="*/ 88 w 166"/>
                <a:gd name="T13" fmla="*/ 153 h 188"/>
                <a:gd name="T14" fmla="*/ 128 w 166"/>
                <a:gd name="T15" fmla="*/ 125 h 188"/>
                <a:gd name="T16" fmla="*/ 165 w 166"/>
                <a:gd name="T17" fmla="*/ 138 h 188"/>
                <a:gd name="T18" fmla="*/ 124 w 166"/>
                <a:gd name="T19" fmla="*/ 75 h 188"/>
                <a:gd name="T20" fmla="*/ 85 w 166"/>
                <a:gd name="T21" fmla="*/ 33 h 188"/>
                <a:gd name="T22" fmla="*/ 42 w 166"/>
                <a:gd name="T23" fmla="*/ 75 h 188"/>
                <a:gd name="T24" fmla="*/ 124 w 166"/>
                <a:gd name="T25" fmla="*/ 7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88">
                  <a:moveTo>
                    <a:pt x="165" y="138"/>
                  </a:moveTo>
                  <a:cubicBezTo>
                    <a:pt x="152" y="170"/>
                    <a:pt x="125" y="188"/>
                    <a:pt x="88" y="188"/>
                  </a:cubicBezTo>
                  <a:cubicBezTo>
                    <a:pt x="31" y="188"/>
                    <a:pt x="0" y="151"/>
                    <a:pt x="0" y="92"/>
                  </a:cubicBezTo>
                  <a:cubicBezTo>
                    <a:pt x="0" y="36"/>
                    <a:pt x="34" y="0"/>
                    <a:pt x="86" y="0"/>
                  </a:cubicBezTo>
                  <a:cubicBezTo>
                    <a:pt x="142" y="0"/>
                    <a:pt x="166" y="41"/>
                    <a:pt x="166" y="105"/>
                  </a:cubicBezTo>
                  <a:cubicBezTo>
                    <a:pt x="42" y="105"/>
                    <a:pt x="42" y="105"/>
                    <a:pt x="42" y="105"/>
                  </a:cubicBezTo>
                  <a:cubicBezTo>
                    <a:pt x="44" y="135"/>
                    <a:pt x="60" y="153"/>
                    <a:pt x="88" y="153"/>
                  </a:cubicBezTo>
                  <a:cubicBezTo>
                    <a:pt x="107" y="153"/>
                    <a:pt x="122" y="146"/>
                    <a:pt x="128" y="125"/>
                  </a:cubicBezTo>
                  <a:lnTo>
                    <a:pt x="165" y="138"/>
                  </a:lnTo>
                  <a:close/>
                  <a:moveTo>
                    <a:pt x="124" y="75"/>
                  </a:moveTo>
                  <a:cubicBezTo>
                    <a:pt x="122" y="47"/>
                    <a:pt x="108" y="33"/>
                    <a:pt x="85" y="33"/>
                  </a:cubicBezTo>
                  <a:cubicBezTo>
                    <a:pt x="62" y="33"/>
                    <a:pt x="45" y="47"/>
                    <a:pt x="42" y="75"/>
                  </a:cubicBezTo>
                  <a:lnTo>
                    <a:pt x="12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40" name="Freeform 17">
              <a:extLst>
                <a:ext uri="{FF2B5EF4-FFF2-40B4-BE49-F238E27FC236}">
                  <a16:creationId xmlns:a16="http://schemas.microsoft.com/office/drawing/2014/main" id="{405F1083-048A-41C5-ACB4-E7D19A58DC5A}"/>
                </a:ext>
              </a:extLst>
            </p:cNvPr>
            <p:cNvSpPr>
              <a:spLocks/>
            </p:cNvSpPr>
            <p:nvPr/>
          </p:nvSpPr>
          <p:spPr bwMode="gray">
            <a:xfrm>
              <a:off x="8244211" y="4523589"/>
              <a:ext cx="393700" cy="677863"/>
            </a:xfrm>
            <a:custGeom>
              <a:avLst/>
              <a:gdLst>
                <a:gd name="T0" fmla="*/ 0 w 105"/>
                <a:gd name="T1" fmla="*/ 180 h 180"/>
                <a:gd name="T2" fmla="*/ 0 w 105"/>
                <a:gd name="T3" fmla="*/ 2 h 180"/>
                <a:gd name="T4" fmla="*/ 40 w 105"/>
                <a:gd name="T5" fmla="*/ 2 h 180"/>
                <a:gd name="T6" fmla="*/ 40 w 105"/>
                <a:gd name="T7" fmla="*/ 30 h 180"/>
                <a:gd name="T8" fmla="*/ 89 w 105"/>
                <a:gd name="T9" fmla="*/ 0 h 180"/>
                <a:gd name="T10" fmla="*/ 105 w 105"/>
                <a:gd name="T11" fmla="*/ 2 h 180"/>
                <a:gd name="T12" fmla="*/ 105 w 105"/>
                <a:gd name="T13" fmla="*/ 44 h 180"/>
                <a:gd name="T14" fmla="*/ 85 w 105"/>
                <a:gd name="T15" fmla="*/ 39 h 180"/>
                <a:gd name="T16" fmla="*/ 51 w 105"/>
                <a:gd name="T17" fmla="*/ 57 h 180"/>
                <a:gd name="T18" fmla="*/ 42 w 105"/>
                <a:gd name="T19" fmla="*/ 97 h 180"/>
                <a:gd name="T20" fmla="*/ 42 w 105"/>
                <a:gd name="T21" fmla="*/ 180 h 180"/>
                <a:gd name="T22" fmla="*/ 0 w 105"/>
                <a:gd name="T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80">
                  <a:moveTo>
                    <a:pt x="0" y="180"/>
                  </a:moveTo>
                  <a:cubicBezTo>
                    <a:pt x="0" y="2"/>
                    <a:pt x="0" y="2"/>
                    <a:pt x="0" y="2"/>
                  </a:cubicBezTo>
                  <a:cubicBezTo>
                    <a:pt x="40" y="2"/>
                    <a:pt x="40" y="2"/>
                    <a:pt x="40" y="2"/>
                  </a:cubicBezTo>
                  <a:cubicBezTo>
                    <a:pt x="40" y="30"/>
                    <a:pt x="40" y="30"/>
                    <a:pt x="40" y="30"/>
                  </a:cubicBezTo>
                  <a:cubicBezTo>
                    <a:pt x="51" y="11"/>
                    <a:pt x="65" y="0"/>
                    <a:pt x="89" y="0"/>
                  </a:cubicBezTo>
                  <a:cubicBezTo>
                    <a:pt x="95" y="0"/>
                    <a:pt x="99" y="1"/>
                    <a:pt x="105" y="2"/>
                  </a:cubicBezTo>
                  <a:cubicBezTo>
                    <a:pt x="105" y="44"/>
                    <a:pt x="105" y="44"/>
                    <a:pt x="105" y="44"/>
                  </a:cubicBezTo>
                  <a:cubicBezTo>
                    <a:pt x="98" y="41"/>
                    <a:pt x="92" y="39"/>
                    <a:pt x="85" y="39"/>
                  </a:cubicBezTo>
                  <a:cubicBezTo>
                    <a:pt x="71" y="39"/>
                    <a:pt x="59" y="46"/>
                    <a:pt x="51" y="57"/>
                  </a:cubicBezTo>
                  <a:cubicBezTo>
                    <a:pt x="45" y="66"/>
                    <a:pt x="42" y="78"/>
                    <a:pt x="42" y="97"/>
                  </a:cubicBezTo>
                  <a:cubicBezTo>
                    <a:pt x="42" y="180"/>
                    <a:pt x="42" y="180"/>
                    <a:pt x="42" y="180"/>
                  </a:cubicBezTo>
                  <a:lnTo>
                    <a:pt x="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41" name="Freeform 18">
              <a:extLst>
                <a:ext uri="{FF2B5EF4-FFF2-40B4-BE49-F238E27FC236}">
                  <a16:creationId xmlns:a16="http://schemas.microsoft.com/office/drawing/2014/main" id="{CBA2FBAA-DA29-477B-A497-6B7E14A41223}"/>
                </a:ext>
              </a:extLst>
            </p:cNvPr>
            <p:cNvSpPr>
              <a:spLocks noEditPoints="1"/>
            </p:cNvSpPr>
            <p:nvPr/>
          </p:nvSpPr>
          <p:spPr bwMode="gray">
            <a:xfrm>
              <a:off x="8687123" y="4523589"/>
              <a:ext cx="623888" cy="960438"/>
            </a:xfrm>
            <a:custGeom>
              <a:avLst/>
              <a:gdLst>
                <a:gd name="T0" fmla="*/ 124 w 167"/>
                <a:gd name="T1" fmla="*/ 155 h 255"/>
                <a:gd name="T2" fmla="*/ 71 w 167"/>
                <a:gd name="T3" fmla="*/ 178 h 255"/>
                <a:gd name="T4" fmla="*/ 0 w 167"/>
                <a:gd name="T5" fmla="*/ 89 h 255"/>
                <a:gd name="T6" fmla="*/ 74 w 167"/>
                <a:gd name="T7" fmla="*/ 0 h 255"/>
                <a:gd name="T8" fmla="*/ 126 w 167"/>
                <a:gd name="T9" fmla="*/ 25 h 255"/>
                <a:gd name="T10" fmla="*/ 126 w 167"/>
                <a:gd name="T11" fmla="*/ 3 h 255"/>
                <a:gd name="T12" fmla="*/ 167 w 167"/>
                <a:gd name="T13" fmla="*/ 3 h 255"/>
                <a:gd name="T14" fmla="*/ 167 w 167"/>
                <a:gd name="T15" fmla="*/ 168 h 255"/>
                <a:gd name="T16" fmla="*/ 139 w 167"/>
                <a:gd name="T17" fmla="*/ 241 h 255"/>
                <a:gd name="T18" fmla="*/ 83 w 167"/>
                <a:gd name="T19" fmla="*/ 255 h 255"/>
                <a:gd name="T20" fmla="*/ 4 w 167"/>
                <a:gd name="T21" fmla="*/ 200 h 255"/>
                <a:gd name="T22" fmla="*/ 48 w 167"/>
                <a:gd name="T23" fmla="*/ 192 h 255"/>
                <a:gd name="T24" fmla="*/ 84 w 167"/>
                <a:gd name="T25" fmla="*/ 221 h 255"/>
                <a:gd name="T26" fmla="*/ 117 w 167"/>
                <a:gd name="T27" fmla="*/ 206 h 255"/>
                <a:gd name="T28" fmla="*/ 124 w 167"/>
                <a:gd name="T29" fmla="*/ 172 h 255"/>
                <a:gd name="T30" fmla="*/ 124 w 167"/>
                <a:gd name="T31" fmla="*/ 155 h 255"/>
                <a:gd name="T32" fmla="*/ 86 w 167"/>
                <a:gd name="T33" fmla="*/ 34 h 255"/>
                <a:gd name="T34" fmla="*/ 43 w 167"/>
                <a:gd name="T35" fmla="*/ 89 h 255"/>
                <a:gd name="T36" fmla="*/ 85 w 167"/>
                <a:gd name="T37" fmla="*/ 145 h 255"/>
                <a:gd name="T38" fmla="*/ 125 w 167"/>
                <a:gd name="T39" fmla="*/ 93 h 255"/>
                <a:gd name="T40" fmla="*/ 86 w 167"/>
                <a:gd name="T41" fmla="*/ 3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7" h="255">
                  <a:moveTo>
                    <a:pt x="124" y="155"/>
                  </a:moveTo>
                  <a:cubicBezTo>
                    <a:pt x="111" y="170"/>
                    <a:pt x="94" y="178"/>
                    <a:pt x="71" y="178"/>
                  </a:cubicBezTo>
                  <a:cubicBezTo>
                    <a:pt x="28" y="178"/>
                    <a:pt x="0" y="145"/>
                    <a:pt x="0" y="89"/>
                  </a:cubicBezTo>
                  <a:cubicBezTo>
                    <a:pt x="0" y="33"/>
                    <a:pt x="30" y="0"/>
                    <a:pt x="74" y="0"/>
                  </a:cubicBezTo>
                  <a:cubicBezTo>
                    <a:pt x="99" y="0"/>
                    <a:pt x="116" y="8"/>
                    <a:pt x="126" y="25"/>
                  </a:cubicBezTo>
                  <a:cubicBezTo>
                    <a:pt x="126" y="3"/>
                    <a:pt x="126" y="3"/>
                    <a:pt x="126" y="3"/>
                  </a:cubicBezTo>
                  <a:cubicBezTo>
                    <a:pt x="167" y="3"/>
                    <a:pt x="167" y="3"/>
                    <a:pt x="167" y="3"/>
                  </a:cubicBezTo>
                  <a:cubicBezTo>
                    <a:pt x="167" y="168"/>
                    <a:pt x="167" y="168"/>
                    <a:pt x="167" y="168"/>
                  </a:cubicBezTo>
                  <a:cubicBezTo>
                    <a:pt x="167" y="205"/>
                    <a:pt x="158" y="228"/>
                    <a:pt x="139" y="241"/>
                  </a:cubicBezTo>
                  <a:cubicBezTo>
                    <a:pt x="126" y="251"/>
                    <a:pt x="105" y="255"/>
                    <a:pt x="83" y="255"/>
                  </a:cubicBezTo>
                  <a:cubicBezTo>
                    <a:pt x="39" y="255"/>
                    <a:pt x="12" y="236"/>
                    <a:pt x="4" y="200"/>
                  </a:cubicBezTo>
                  <a:cubicBezTo>
                    <a:pt x="48" y="192"/>
                    <a:pt x="48" y="192"/>
                    <a:pt x="48" y="192"/>
                  </a:cubicBezTo>
                  <a:cubicBezTo>
                    <a:pt x="51" y="211"/>
                    <a:pt x="64" y="221"/>
                    <a:pt x="84" y="221"/>
                  </a:cubicBezTo>
                  <a:cubicBezTo>
                    <a:pt x="101" y="221"/>
                    <a:pt x="111" y="216"/>
                    <a:pt x="117" y="206"/>
                  </a:cubicBezTo>
                  <a:cubicBezTo>
                    <a:pt x="122" y="199"/>
                    <a:pt x="124" y="187"/>
                    <a:pt x="124" y="172"/>
                  </a:cubicBezTo>
                  <a:lnTo>
                    <a:pt x="124" y="155"/>
                  </a:lnTo>
                  <a:close/>
                  <a:moveTo>
                    <a:pt x="86" y="34"/>
                  </a:moveTo>
                  <a:cubicBezTo>
                    <a:pt x="60" y="34"/>
                    <a:pt x="43" y="54"/>
                    <a:pt x="43" y="89"/>
                  </a:cubicBezTo>
                  <a:cubicBezTo>
                    <a:pt x="43" y="125"/>
                    <a:pt x="59" y="145"/>
                    <a:pt x="85" y="145"/>
                  </a:cubicBezTo>
                  <a:cubicBezTo>
                    <a:pt x="109" y="145"/>
                    <a:pt x="124" y="128"/>
                    <a:pt x="125" y="93"/>
                  </a:cubicBezTo>
                  <a:cubicBezTo>
                    <a:pt x="125" y="56"/>
                    <a:pt x="112" y="34"/>
                    <a:pt x="8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42" name="Freeform 19">
              <a:extLst>
                <a:ext uri="{FF2B5EF4-FFF2-40B4-BE49-F238E27FC236}">
                  <a16:creationId xmlns:a16="http://schemas.microsoft.com/office/drawing/2014/main" id="{F931C3AA-0A01-438C-8EAE-DA3C83C67DAB}"/>
                </a:ext>
              </a:extLst>
            </p:cNvPr>
            <p:cNvSpPr>
              <a:spLocks/>
            </p:cNvSpPr>
            <p:nvPr/>
          </p:nvSpPr>
          <p:spPr bwMode="gray">
            <a:xfrm>
              <a:off x="9390386" y="4531526"/>
              <a:ext cx="661988" cy="952500"/>
            </a:xfrm>
            <a:custGeom>
              <a:avLst/>
              <a:gdLst>
                <a:gd name="T0" fmla="*/ 69 w 177"/>
                <a:gd name="T1" fmla="*/ 181 h 253"/>
                <a:gd name="T2" fmla="*/ 0 w 177"/>
                <a:gd name="T3" fmla="*/ 0 h 253"/>
                <a:gd name="T4" fmla="*/ 47 w 177"/>
                <a:gd name="T5" fmla="*/ 0 h 253"/>
                <a:gd name="T6" fmla="*/ 92 w 177"/>
                <a:gd name="T7" fmla="*/ 133 h 253"/>
                <a:gd name="T8" fmla="*/ 133 w 177"/>
                <a:gd name="T9" fmla="*/ 0 h 253"/>
                <a:gd name="T10" fmla="*/ 177 w 177"/>
                <a:gd name="T11" fmla="*/ 0 h 253"/>
                <a:gd name="T12" fmla="*/ 114 w 177"/>
                <a:gd name="T13" fmla="*/ 178 h 253"/>
                <a:gd name="T14" fmla="*/ 38 w 177"/>
                <a:gd name="T15" fmla="*/ 253 h 253"/>
                <a:gd name="T16" fmla="*/ 17 w 177"/>
                <a:gd name="T17" fmla="*/ 251 h 253"/>
                <a:gd name="T18" fmla="*/ 17 w 177"/>
                <a:gd name="T19" fmla="*/ 215 h 253"/>
                <a:gd name="T20" fmla="*/ 33 w 177"/>
                <a:gd name="T21" fmla="*/ 218 h 253"/>
                <a:gd name="T22" fmla="*/ 66 w 177"/>
                <a:gd name="T23" fmla="*/ 189 h 253"/>
                <a:gd name="T24" fmla="*/ 69 w 177"/>
                <a:gd name="T25" fmla="*/ 18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53">
                  <a:moveTo>
                    <a:pt x="69" y="181"/>
                  </a:moveTo>
                  <a:cubicBezTo>
                    <a:pt x="0" y="0"/>
                    <a:pt x="0" y="0"/>
                    <a:pt x="0" y="0"/>
                  </a:cubicBezTo>
                  <a:cubicBezTo>
                    <a:pt x="47" y="0"/>
                    <a:pt x="47" y="0"/>
                    <a:pt x="47" y="0"/>
                  </a:cubicBezTo>
                  <a:cubicBezTo>
                    <a:pt x="65" y="51"/>
                    <a:pt x="80" y="96"/>
                    <a:pt x="92" y="133"/>
                  </a:cubicBezTo>
                  <a:cubicBezTo>
                    <a:pt x="103" y="97"/>
                    <a:pt x="117" y="49"/>
                    <a:pt x="133" y="0"/>
                  </a:cubicBezTo>
                  <a:cubicBezTo>
                    <a:pt x="177" y="0"/>
                    <a:pt x="177" y="0"/>
                    <a:pt x="177" y="0"/>
                  </a:cubicBezTo>
                  <a:cubicBezTo>
                    <a:pt x="114" y="178"/>
                    <a:pt x="114" y="178"/>
                    <a:pt x="114" y="178"/>
                  </a:cubicBezTo>
                  <a:cubicBezTo>
                    <a:pt x="93" y="238"/>
                    <a:pt x="81" y="253"/>
                    <a:pt x="38" y="253"/>
                  </a:cubicBezTo>
                  <a:cubicBezTo>
                    <a:pt x="31" y="253"/>
                    <a:pt x="23" y="252"/>
                    <a:pt x="17" y="251"/>
                  </a:cubicBezTo>
                  <a:cubicBezTo>
                    <a:pt x="17" y="215"/>
                    <a:pt x="17" y="215"/>
                    <a:pt x="17" y="215"/>
                  </a:cubicBezTo>
                  <a:cubicBezTo>
                    <a:pt x="22" y="217"/>
                    <a:pt x="29" y="218"/>
                    <a:pt x="33" y="218"/>
                  </a:cubicBezTo>
                  <a:cubicBezTo>
                    <a:pt x="51" y="218"/>
                    <a:pt x="58" y="213"/>
                    <a:pt x="66" y="189"/>
                  </a:cubicBezTo>
                  <a:lnTo>
                    <a:pt x="6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46" name="Foliennummernplatzhalter 5">
            <a:extLst>
              <a:ext uri="{FF2B5EF4-FFF2-40B4-BE49-F238E27FC236}">
                <a16:creationId xmlns:a16="http://schemas.microsoft.com/office/drawing/2014/main" id="{8B4E85E4-9722-4197-86B6-8E5C50EBC2B3}"/>
              </a:ext>
            </a:extLst>
          </p:cNvPr>
          <p:cNvSpPr>
            <a:spLocks noGrp="1"/>
          </p:cNvSpPr>
          <p:nvPr>
            <p:ph type="sldNum" sz="quarter" idx="3"/>
          </p:nvPr>
        </p:nvSpPr>
        <p:spPr bwMode="gray">
          <a:xfrm>
            <a:off x="5995497" y="9445608"/>
            <a:ext cx="210050" cy="194344"/>
          </a:xfrm>
          <a:prstGeom prst="rect">
            <a:avLst/>
          </a:prstGeom>
        </p:spPr>
        <p:txBody>
          <a:bodyPr vert="horz" wrap="none" lIns="0" tIns="0" rIns="0" bIns="0" rtlCol="0" anchor="ctr"/>
          <a:lstStyle>
            <a:lvl1pPr algn="r">
              <a:lnSpc>
                <a:spcPct val="100000"/>
              </a:lnSpc>
              <a:defRPr sz="900">
                <a:solidFill>
                  <a:schemeClr val="tx1">
                    <a:tint val="75000"/>
                  </a:schemeClr>
                </a:solidFill>
              </a:defRPr>
            </a:lvl1pPr>
          </a:lstStyle>
          <a:p>
            <a:fld id="{3B140A39-527A-45CF-A911-B921024B92E6}" type="slidenum">
              <a:rPr lang="en-US" smtClean="0"/>
              <a:pPr/>
              <a:t>‹#›</a:t>
            </a:fld>
            <a:endParaRPr lang="en-US"/>
          </a:p>
        </p:txBody>
      </p:sp>
      <p:sp>
        <p:nvSpPr>
          <p:cNvPr id="47" name="Fußzeilenplatzhalter 3">
            <a:extLst>
              <a:ext uri="{FF2B5EF4-FFF2-40B4-BE49-F238E27FC236}">
                <a16:creationId xmlns:a16="http://schemas.microsoft.com/office/drawing/2014/main" id="{E2280DE1-96B0-4127-9CB2-36782C7ADDE0}"/>
              </a:ext>
            </a:extLst>
          </p:cNvPr>
          <p:cNvSpPr>
            <a:spLocks noGrp="1"/>
          </p:cNvSpPr>
          <p:nvPr>
            <p:ph type="ftr" sz="quarter" idx="2"/>
          </p:nvPr>
        </p:nvSpPr>
        <p:spPr bwMode="gray">
          <a:xfrm>
            <a:off x="673614" y="9445608"/>
            <a:ext cx="5076209" cy="194344"/>
          </a:xfrm>
          <a:prstGeom prst="rect">
            <a:avLst/>
          </a:prstGeom>
        </p:spPr>
        <p:txBody>
          <a:bodyPr vert="horz" lIns="0" tIns="45720" rIns="0" bIns="45720" rtlCol="0" anchor="ctr"/>
          <a:lstStyle>
            <a:lvl1pPr algn="r">
              <a:defRPr sz="900">
                <a:solidFill>
                  <a:schemeClr val="accent6"/>
                </a:solidFill>
              </a:defRPr>
            </a:lvl1pPr>
          </a:lstStyle>
          <a:p>
            <a:r>
              <a:rPr lang="en-US"/>
              <a:t>BayWa r.e. Master 2021</a:t>
            </a:r>
          </a:p>
        </p:txBody>
      </p:sp>
      <p:sp>
        <p:nvSpPr>
          <p:cNvPr id="48" name="Rechteck 47">
            <a:extLst>
              <a:ext uri="{FF2B5EF4-FFF2-40B4-BE49-F238E27FC236}">
                <a16:creationId xmlns:a16="http://schemas.microsoft.com/office/drawing/2014/main" id="{133B057C-DB01-4E42-AD94-197DA1AA3D3E}"/>
              </a:ext>
            </a:extLst>
          </p:cNvPr>
          <p:cNvSpPr/>
          <p:nvPr/>
        </p:nvSpPr>
        <p:spPr bwMode="gray">
          <a:xfrm>
            <a:off x="5875398" y="9509373"/>
            <a:ext cx="60180" cy="668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3153056"/>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pos="3910" userDrawn="1">
          <p15:clr>
            <a:srgbClr val="F26B43"/>
          </p15:clr>
        </p15:guide>
        <p15:guide id="2" pos="29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306388" y="1044575"/>
            <a:ext cx="3186112" cy="1792288"/>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bwMode="gray">
          <a:xfrm>
            <a:off x="463542" y="3329875"/>
            <a:ext cx="5742005" cy="590805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1" name="Grafik 10">
            <a:extLst>
              <a:ext uri="{FF2B5EF4-FFF2-40B4-BE49-F238E27FC236}">
                <a16:creationId xmlns:a16="http://schemas.microsoft.com/office/drawing/2014/main" id="{538B6C4C-249D-489C-B937-C97BB49B5D0E}"/>
              </a:ext>
            </a:extLst>
          </p:cNvPr>
          <p:cNvPicPr>
            <a:picLocks noChangeAspect="1"/>
          </p:cNvPicPr>
          <p:nvPr/>
        </p:nvPicPr>
        <p:blipFill>
          <a:blip r:embed="rId2"/>
          <a:stretch>
            <a:fillRect/>
          </a:stretch>
        </p:blipFill>
        <p:spPr bwMode="gray">
          <a:xfrm>
            <a:off x="463542" y="436911"/>
            <a:ext cx="1050250" cy="280522"/>
          </a:xfrm>
          <a:prstGeom prst="rect">
            <a:avLst/>
          </a:prstGeom>
        </p:spPr>
      </p:pic>
      <p:grpSp>
        <p:nvGrpSpPr>
          <p:cNvPr id="12" name="Gruppieren 11">
            <a:extLst>
              <a:ext uri="{FF2B5EF4-FFF2-40B4-BE49-F238E27FC236}">
                <a16:creationId xmlns:a16="http://schemas.microsoft.com/office/drawing/2014/main" id="{A6E3A3D6-E7A7-491D-9591-15ECC4506D41}"/>
              </a:ext>
            </a:extLst>
          </p:cNvPr>
          <p:cNvGrpSpPr/>
          <p:nvPr/>
        </p:nvGrpSpPr>
        <p:grpSpPr bwMode="gray">
          <a:xfrm>
            <a:off x="5027481" y="504834"/>
            <a:ext cx="1185577" cy="181624"/>
            <a:chOff x="1124273" y="4252126"/>
            <a:chExt cx="8928101" cy="1231901"/>
          </a:xfrm>
          <a:solidFill>
            <a:schemeClr val="tx1"/>
          </a:solidFill>
        </p:grpSpPr>
        <p:sp>
          <p:nvSpPr>
            <p:cNvPr id="13" name="Freeform 5">
              <a:extLst>
                <a:ext uri="{FF2B5EF4-FFF2-40B4-BE49-F238E27FC236}">
                  <a16:creationId xmlns:a16="http://schemas.microsoft.com/office/drawing/2014/main" id="{B8BA0361-36EC-429B-BA3A-BB4537D85C72}"/>
                </a:ext>
              </a:extLst>
            </p:cNvPr>
            <p:cNvSpPr>
              <a:spLocks/>
            </p:cNvSpPr>
            <p:nvPr/>
          </p:nvSpPr>
          <p:spPr bwMode="gray">
            <a:xfrm>
              <a:off x="1124273" y="4523589"/>
              <a:ext cx="388938" cy="677863"/>
            </a:xfrm>
            <a:custGeom>
              <a:avLst/>
              <a:gdLst>
                <a:gd name="T0" fmla="*/ 0 w 104"/>
                <a:gd name="T1" fmla="*/ 180 h 180"/>
                <a:gd name="T2" fmla="*/ 0 w 104"/>
                <a:gd name="T3" fmla="*/ 2 h 180"/>
                <a:gd name="T4" fmla="*/ 40 w 104"/>
                <a:gd name="T5" fmla="*/ 2 h 180"/>
                <a:gd name="T6" fmla="*/ 40 w 104"/>
                <a:gd name="T7" fmla="*/ 30 h 180"/>
                <a:gd name="T8" fmla="*/ 89 w 104"/>
                <a:gd name="T9" fmla="*/ 0 h 180"/>
                <a:gd name="T10" fmla="*/ 104 w 104"/>
                <a:gd name="T11" fmla="*/ 2 h 180"/>
                <a:gd name="T12" fmla="*/ 104 w 104"/>
                <a:gd name="T13" fmla="*/ 44 h 180"/>
                <a:gd name="T14" fmla="*/ 84 w 104"/>
                <a:gd name="T15" fmla="*/ 39 h 180"/>
                <a:gd name="T16" fmla="*/ 51 w 104"/>
                <a:gd name="T17" fmla="*/ 57 h 180"/>
                <a:gd name="T18" fmla="*/ 42 w 104"/>
                <a:gd name="T19" fmla="*/ 97 h 180"/>
                <a:gd name="T20" fmla="*/ 42 w 104"/>
                <a:gd name="T21" fmla="*/ 180 h 180"/>
                <a:gd name="T22" fmla="*/ 0 w 104"/>
                <a:gd name="T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80">
                  <a:moveTo>
                    <a:pt x="0" y="180"/>
                  </a:moveTo>
                  <a:cubicBezTo>
                    <a:pt x="0" y="2"/>
                    <a:pt x="0" y="2"/>
                    <a:pt x="0" y="2"/>
                  </a:cubicBezTo>
                  <a:cubicBezTo>
                    <a:pt x="40" y="2"/>
                    <a:pt x="40" y="2"/>
                    <a:pt x="40" y="2"/>
                  </a:cubicBezTo>
                  <a:cubicBezTo>
                    <a:pt x="40" y="30"/>
                    <a:pt x="40" y="30"/>
                    <a:pt x="40" y="30"/>
                  </a:cubicBezTo>
                  <a:cubicBezTo>
                    <a:pt x="51" y="11"/>
                    <a:pt x="64" y="0"/>
                    <a:pt x="89" y="0"/>
                  </a:cubicBezTo>
                  <a:cubicBezTo>
                    <a:pt x="95" y="0"/>
                    <a:pt x="99" y="1"/>
                    <a:pt x="104" y="2"/>
                  </a:cubicBezTo>
                  <a:cubicBezTo>
                    <a:pt x="104" y="44"/>
                    <a:pt x="104" y="44"/>
                    <a:pt x="104" y="44"/>
                  </a:cubicBezTo>
                  <a:cubicBezTo>
                    <a:pt x="98" y="41"/>
                    <a:pt x="92" y="39"/>
                    <a:pt x="84" y="39"/>
                  </a:cubicBezTo>
                  <a:cubicBezTo>
                    <a:pt x="70" y="39"/>
                    <a:pt x="59" y="46"/>
                    <a:pt x="51" y="57"/>
                  </a:cubicBezTo>
                  <a:cubicBezTo>
                    <a:pt x="45" y="66"/>
                    <a:pt x="42" y="78"/>
                    <a:pt x="42" y="97"/>
                  </a:cubicBezTo>
                  <a:cubicBezTo>
                    <a:pt x="42" y="180"/>
                    <a:pt x="42" y="180"/>
                    <a:pt x="42" y="180"/>
                  </a:cubicBezTo>
                  <a:lnTo>
                    <a:pt x="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4" name="Rectangle 6">
              <a:extLst>
                <a:ext uri="{FF2B5EF4-FFF2-40B4-BE49-F238E27FC236}">
                  <a16:creationId xmlns:a16="http://schemas.microsoft.com/office/drawing/2014/main" id="{FCB0E943-5E2C-4DB9-BDE7-635722075298}"/>
                </a:ext>
              </a:extLst>
            </p:cNvPr>
            <p:cNvSpPr>
              <a:spLocks noChangeArrowheads="1"/>
            </p:cNvSpPr>
            <p:nvPr/>
          </p:nvSpPr>
          <p:spPr bwMode="gray">
            <a:xfrm>
              <a:off x="1590998" y="5006189"/>
              <a:ext cx="157163"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5" name="Freeform 7">
              <a:extLst>
                <a:ext uri="{FF2B5EF4-FFF2-40B4-BE49-F238E27FC236}">
                  <a16:creationId xmlns:a16="http://schemas.microsoft.com/office/drawing/2014/main" id="{23CB2E9E-942B-403A-9218-6E555D46D51A}"/>
                </a:ext>
              </a:extLst>
            </p:cNvPr>
            <p:cNvSpPr>
              <a:spLocks noEditPoints="1"/>
            </p:cNvSpPr>
            <p:nvPr/>
          </p:nvSpPr>
          <p:spPr bwMode="gray">
            <a:xfrm>
              <a:off x="1865636" y="4512476"/>
              <a:ext cx="620713" cy="708025"/>
            </a:xfrm>
            <a:custGeom>
              <a:avLst/>
              <a:gdLst>
                <a:gd name="T0" fmla="*/ 165 w 166"/>
                <a:gd name="T1" fmla="*/ 138 h 188"/>
                <a:gd name="T2" fmla="*/ 88 w 166"/>
                <a:gd name="T3" fmla="*/ 188 h 188"/>
                <a:gd name="T4" fmla="*/ 0 w 166"/>
                <a:gd name="T5" fmla="*/ 92 h 188"/>
                <a:gd name="T6" fmla="*/ 86 w 166"/>
                <a:gd name="T7" fmla="*/ 0 h 188"/>
                <a:gd name="T8" fmla="*/ 166 w 166"/>
                <a:gd name="T9" fmla="*/ 105 h 188"/>
                <a:gd name="T10" fmla="*/ 42 w 166"/>
                <a:gd name="T11" fmla="*/ 105 h 188"/>
                <a:gd name="T12" fmla="*/ 88 w 166"/>
                <a:gd name="T13" fmla="*/ 153 h 188"/>
                <a:gd name="T14" fmla="*/ 128 w 166"/>
                <a:gd name="T15" fmla="*/ 125 h 188"/>
                <a:gd name="T16" fmla="*/ 165 w 166"/>
                <a:gd name="T17" fmla="*/ 138 h 188"/>
                <a:gd name="T18" fmla="*/ 124 w 166"/>
                <a:gd name="T19" fmla="*/ 75 h 188"/>
                <a:gd name="T20" fmla="*/ 85 w 166"/>
                <a:gd name="T21" fmla="*/ 33 h 188"/>
                <a:gd name="T22" fmla="*/ 42 w 166"/>
                <a:gd name="T23" fmla="*/ 75 h 188"/>
                <a:gd name="T24" fmla="*/ 124 w 166"/>
                <a:gd name="T25" fmla="*/ 7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88">
                  <a:moveTo>
                    <a:pt x="165" y="138"/>
                  </a:moveTo>
                  <a:cubicBezTo>
                    <a:pt x="152" y="170"/>
                    <a:pt x="125" y="188"/>
                    <a:pt x="88" y="188"/>
                  </a:cubicBezTo>
                  <a:cubicBezTo>
                    <a:pt x="31" y="188"/>
                    <a:pt x="0" y="151"/>
                    <a:pt x="0" y="92"/>
                  </a:cubicBezTo>
                  <a:cubicBezTo>
                    <a:pt x="0" y="36"/>
                    <a:pt x="34" y="0"/>
                    <a:pt x="86" y="0"/>
                  </a:cubicBezTo>
                  <a:cubicBezTo>
                    <a:pt x="142" y="0"/>
                    <a:pt x="166" y="41"/>
                    <a:pt x="166" y="105"/>
                  </a:cubicBezTo>
                  <a:cubicBezTo>
                    <a:pt x="42" y="105"/>
                    <a:pt x="42" y="105"/>
                    <a:pt x="42" y="105"/>
                  </a:cubicBezTo>
                  <a:cubicBezTo>
                    <a:pt x="44" y="135"/>
                    <a:pt x="60" y="153"/>
                    <a:pt x="88" y="153"/>
                  </a:cubicBezTo>
                  <a:cubicBezTo>
                    <a:pt x="107" y="153"/>
                    <a:pt x="122" y="146"/>
                    <a:pt x="128" y="125"/>
                  </a:cubicBezTo>
                  <a:lnTo>
                    <a:pt x="165" y="138"/>
                  </a:lnTo>
                  <a:close/>
                  <a:moveTo>
                    <a:pt x="124" y="75"/>
                  </a:moveTo>
                  <a:cubicBezTo>
                    <a:pt x="122" y="47"/>
                    <a:pt x="108" y="33"/>
                    <a:pt x="85" y="33"/>
                  </a:cubicBezTo>
                  <a:cubicBezTo>
                    <a:pt x="62" y="33"/>
                    <a:pt x="45" y="47"/>
                    <a:pt x="42" y="75"/>
                  </a:cubicBezTo>
                  <a:lnTo>
                    <a:pt x="12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6" name="Rectangle 8">
              <a:extLst>
                <a:ext uri="{FF2B5EF4-FFF2-40B4-BE49-F238E27FC236}">
                  <a16:creationId xmlns:a16="http://schemas.microsoft.com/office/drawing/2014/main" id="{8E9E251B-7DEE-41AE-B2D5-CB87BD936EC8}"/>
                </a:ext>
              </a:extLst>
            </p:cNvPr>
            <p:cNvSpPr>
              <a:spLocks noChangeArrowheads="1"/>
            </p:cNvSpPr>
            <p:nvPr/>
          </p:nvSpPr>
          <p:spPr bwMode="gray">
            <a:xfrm>
              <a:off x="2599061" y="5006189"/>
              <a:ext cx="152400"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7" name="Freeform 9">
              <a:extLst>
                <a:ext uri="{FF2B5EF4-FFF2-40B4-BE49-F238E27FC236}">
                  <a16:creationId xmlns:a16="http://schemas.microsoft.com/office/drawing/2014/main" id="{218BABC0-86CE-45C3-BA81-24A64A92418D}"/>
                </a:ext>
              </a:extLst>
            </p:cNvPr>
            <p:cNvSpPr>
              <a:spLocks/>
            </p:cNvSpPr>
            <p:nvPr/>
          </p:nvSpPr>
          <p:spPr bwMode="gray">
            <a:xfrm>
              <a:off x="2837186" y="4317214"/>
              <a:ext cx="393700" cy="896938"/>
            </a:xfrm>
            <a:custGeom>
              <a:avLst/>
              <a:gdLst>
                <a:gd name="T0" fmla="*/ 105 w 105"/>
                <a:gd name="T1" fmla="*/ 234 h 238"/>
                <a:gd name="T2" fmla="*/ 74 w 105"/>
                <a:gd name="T3" fmla="*/ 238 h 238"/>
                <a:gd name="T4" fmla="*/ 37 w 105"/>
                <a:gd name="T5" fmla="*/ 225 h 238"/>
                <a:gd name="T6" fmla="*/ 27 w 105"/>
                <a:gd name="T7" fmla="*/ 188 h 238"/>
                <a:gd name="T8" fmla="*/ 27 w 105"/>
                <a:gd name="T9" fmla="*/ 91 h 238"/>
                <a:gd name="T10" fmla="*/ 0 w 105"/>
                <a:gd name="T11" fmla="*/ 91 h 238"/>
                <a:gd name="T12" fmla="*/ 0 w 105"/>
                <a:gd name="T13" fmla="*/ 57 h 238"/>
                <a:gd name="T14" fmla="*/ 28 w 105"/>
                <a:gd name="T15" fmla="*/ 57 h 238"/>
                <a:gd name="T16" fmla="*/ 28 w 105"/>
                <a:gd name="T17" fmla="*/ 0 h 238"/>
                <a:gd name="T18" fmla="*/ 70 w 105"/>
                <a:gd name="T19" fmla="*/ 0 h 238"/>
                <a:gd name="T20" fmla="*/ 70 w 105"/>
                <a:gd name="T21" fmla="*/ 57 h 238"/>
                <a:gd name="T22" fmla="*/ 104 w 105"/>
                <a:gd name="T23" fmla="*/ 57 h 238"/>
                <a:gd name="T24" fmla="*/ 104 w 105"/>
                <a:gd name="T25" fmla="*/ 91 h 238"/>
                <a:gd name="T26" fmla="*/ 70 w 105"/>
                <a:gd name="T27" fmla="*/ 91 h 238"/>
                <a:gd name="T28" fmla="*/ 70 w 105"/>
                <a:gd name="T29" fmla="*/ 180 h 238"/>
                <a:gd name="T30" fmla="*/ 88 w 105"/>
                <a:gd name="T31" fmla="*/ 204 h 238"/>
                <a:gd name="T32" fmla="*/ 105 w 105"/>
                <a:gd name="T33" fmla="*/ 201 h 238"/>
                <a:gd name="T34" fmla="*/ 105 w 105"/>
                <a:gd name="T35"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38">
                  <a:moveTo>
                    <a:pt x="105" y="234"/>
                  </a:moveTo>
                  <a:cubicBezTo>
                    <a:pt x="95" y="236"/>
                    <a:pt x="84" y="238"/>
                    <a:pt x="74" y="238"/>
                  </a:cubicBezTo>
                  <a:cubicBezTo>
                    <a:pt x="56" y="238"/>
                    <a:pt x="45" y="234"/>
                    <a:pt x="37" y="225"/>
                  </a:cubicBezTo>
                  <a:cubicBezTo>
                    <a:pt x="30" y="217"/>
                    <a:pt x="27" y="204"/>
                    <a:pt x="27" y="188"/>
                  </a:cubicBezTo>
                  <a:cubicBezTo>
                    <a:pt x="27" y="91"/>
                    <a:pt x="27" y="91"/>
                    <a:pt x="27" y="91"/>
                  </a:cubicBezTo>
                  <a:cubicBezTo>
                    <a:pt x="0" y="91"/>
                    <a:pt x="0" y="91"/>
                    <a:pt x="0" y="91"/>
                  </a:cubicBezTo>
                  <a:cubicBezTo>
                    <a:pt x="0" y="57"/>
                    <a:pt x="0" y="57"/>
                    <a:pt x="0" y="57"/>
                  </a:cubicBezTo>
                  <a:cubicBezTo>
                    <a:pt x="28" y="57"/>
                    <a:pt x="28" y="57"/>
                    <a:pt x="28" y="57"/>
                  </a:cubicBezTo>
                  <a:cubicBezTo>
                    <a:pt x="28" y="0"/>
                    <a:pt x="28" y="0"/>
                    <a:pt x="28" y="0"/>
                  </a:cubicBezTo>
                  <a:cubicBezTo>
                    <a:pt x="70" y="0"/>
                    <a:pt x="70" y="0"/>
                    <a:pt x="70" y="0"/>
                  </a:cubicBezTo>
                  <a:cubicBezTo>
                    <a:pt x="70" y="57"/>
                    <a:pt x="70" y="57"/>
                    <a:pt x="70" y="57"/>
                  </a:cubicBezTo>
                  <a:cubicBezTo>
                    <a:pt x="104" y="57"/>
                    <a:pt x="104" y="57"/>
                    <a:pt x="104" y="57"/>
                  </a:cubicBezTo>
                  <a:cubicBezTo>
                    <a:pt x="104" y="91"/>
                    <a:pt x="104" y="91"/>
                    <a:pt x="104" y="91"/>
                  </a:cubicBezTo>
                  <a:cubicBezTo>
                    <a:pt x="70" y="91"/>
                    <a:pt x="70" y="91"/>
                    <a:pt x="70" y="91"/>
                  </a:cubicBezTo>
                  <a:cubicBezTo>
                    <a:pt x="70" y="180"/>
                    <a:pt x="70" y="180"/>
                    <a:pt x="70" y="180"/>
                  </a:cubicBezTo>
                  <a:cubicBezTo>
                    <a:pt x="70" y="198"/>
                    <a:pt x="75" y="204"/>
                    <a:pt x="88" y="204"/>
                  </a:cubicBezTo>
                  <a:cubicBezTo>
                    <a:pt x="93" y="204"/>
                    <a:pt x="99" y="203"/>
                    <a:pt x="105" y="201"/>
                  </a:cubicBezTo>
                  <a:lnTo>
                    <a:pt x="105"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8" name="Freeform 10">
              <a:extLst>
                <a:ext uri="{FF2B5EF4-FFF2-40B4-BE49-F238E27FC236}">
                  <a16:creationId xmlns:a16="http://schemas.microsoft.com/office/drawing/2014/main" id="{BBFAB4CE-882F-453E-8598-B3A453ABF0FC}"/>
                </a:ext>
              </a:extLst>
            </p:cNvPr>
            <p:cNvSpPr>
              <a:spLocks/>
            </p:cNvSpPr>
            <p:nvPr/>
          </p:nvSpPr>
          <p:spPr bwMode="gray">
            <a:xfrm>
              <a:off x="3324548" y="4252126"/>
              <a:ext cx="576263" cy="949325"/>
            </a:xfrm>
            <a:custGeom>
              <a:avLst/>
              <a:gdLst>
                <a:gd name="T0" fmla="*/ 112 w 154"/>
                <a:gd name="T1" fmla="*/ 252 h 252"/>
                <a:gd name="T2" fmla="*/ 112 w 154"/>
                <a:gd name="T3" fmla="*/ 150 h 252"/>
                <a:gd name="T4" fmla="*/ 105 w 154"/>
                <a:gd name="T5" fmla="*/ 118 h 252"/>
                <a:gd name="T6" fmla="*/ 82 w 154"/>
                <a:gd name="T7" fmla="*/ 109 h 252"/>
                <a:gd name="T8" fmla="*/ 52 w 154"/>
                <a:gd name="T9" fmla="*/ 124 h 252"/>
                <a:gd name="T10" fmla="*/ 42 w 154"/>
                <a:gd name="T11" fmla="*/ 166 h 252"/>
                <a:gd name="T12" fmla="*/ 42 w 154"/>
                <a:gd name="T13" fmla="*/ 252 h 252"/>
                <a:gd name="T14" fmla="*/ 0 w 154"/>
                <a:gd name="T15" fmla="*/ 252 h 252"/>
                <a:gd name="T16" fmla="*/ 0 w 154"/>
                <a:gd name="T17" fmla="*/ 0 h 252"/>
                <a:gd name="T18" fmla="*/ 41 w 154"/>
                <a:gd name="T19" fmla="*/ 0 h 252"/>
                <a:gd name="T20" fmla="*/ 41 w 154"/>
                <a:gd name="T21" fmla="*/ 101 h 252"/>
                <a:gd name="T22" fmla="*/ 100 w 154"/>
                <a:gd name="T23" fmla="*/ 71 h 252"/>
                <a:gd name="T24" fmla="*/ 143 w 154"/>
                <a:gd name="T25" fmla="*/ 90 h 252"/>
                <a:gd name="T26" fmla="*/ 154 w 154"/>
                <a:gd name="T27" fmla="*/ 142 h 252"/>
                <a:gd name="T28" fmla="*/ 154 w 154"/>
                <a:gd name="T29" fmla="*/ 252 h 252"/>
                <a:gd name="T30" fmla="*/ 112 w 154"/>
                <a:gd name="T3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252">
                  <a:moveTo>
                    <a:pt x="112" y="252"/>
                  </a:moveTo>
                  <a:cubicBezTo>
                    <a:pt x="112" y="150"/>
                    <a:pt x="112" y="150"/>
                    <a:pt x="112" y="150"/>
                  </a:cubicBezTo>
                  <a:cubicBezTo>
                    <a:pt x="112" y="135"/>
                    <a:pt x="111" y="125"/>
                    <a:pt x="105" y="118"/>
                  </a:cubicBezTo>
                  <a:cubicBezTo>
                    <a:pt x="100" y="111"/>
                    <a:pt x="93" y="109"/>
                    <a:pt x="82" y="109"/>
                  </a:cubicBezTo>
                  <a:cubicBezTo>
                    <a:pt x="71" y="109"/>
                    <a:pt x="59" y="115"/>
                    <a:pt x="52" y="124"/>
                  </a:cubicBezTo>
                  <a:cubicBezTo>
                    <a:pt x="43" y="136"/>
                    <a:pt x="42" y="149"/>
                    <a:pt x="42" y="166"/>
                  </a:cubicBezTo>
                  <a:cubicBezTo>
                    <a:pt x="42" y="252"/>
                    <a:pt x="42" y="252"/>
                    <a:pt x="42" y="252"/>
                  </a:cubicBezTo>
                  <a:cubicBezTo>
                    <a:pt x="0" y="252"/>
                    <a:pt x="0" y="252"/>
                    <a:pt x="0" y="252"/>
                  </a:cubicBezTo>
                  <a:cubicBezTo>
                    <a:pt x="0" y="0"/>
                    <a:pt x="0" y="0"/>
                    <a:pt x="0" y="0"/>
                  </a:cubicBezTo>
                  <a:cubicBezTo>
                    <a:pt x="41" y="0"/>
                    <a:pt x="41" y="0"/>
                    <a:pt x="41" y="0"/>
                  </a:cubicBezTo>
                  <a:cubicBezTo>
                    <a:pt x="41" y="101"/>
                    <a:pt x="41" y="101"/>
                    <a:pt x="41" y="101"/>
                  </a:cubicBezTo>
                  <a:cubicBezTo>
                    <a:pt x="54" y="83"/>
                    <a:pt x="75" y="71"/>
                    <a:pt x="100" y="71"/>
                  </a:cubicBezTo>
                  <a:cubicBezTo>
                    <a:pt x="121" y="71"/>
                    <a:pt x="134" y="78"/>
                    <a:pt x="143" y="90"/>
                  </a:cubicBezTo>
                  <a:cubicBezTo>
                    <a:pt x="151" y="101"/>
                    <a:pt x="154" y="115"/>
                    <a:pt x="154" y="142"/>
                  </a:cubicBezTo>
                  <a:cubicBezTo>
                    <a:pt x="154" y="252"/>
                    <a:pt x="154" y="252"/>
                    <a:pt x="154" y="252"/>
                  </a:cubicBezTo>
                  <a:lnTo>
                    <a:pt x="112"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9" name="Freeform 11">
              <a:extLst>
                <a:ext uri="{FF2B5EF4-FFF2-40B4-BE49-F238E27FC236}">
                  <a16:creationId xmlns:a16="http://schemas.microsoft.com/office/drawing/2014/main" id="{C2CC2E23-78DD-4B66-BB60-32A665C0D8E4}"/>
                </a:ext>
              </a:extLst>
            </p:cNvPr>
            <p:cNvSpPr>
              <a:spLocks noEditPoints="1"/>
            </p:cNvSpPr>
            <p:nvPr/>
          </p:nvSpPr>
          <p:spPr bwMode="gray">
            <a:xfrm>
              <a:off x="4053211" y="4252126"/>
              <a:ext cx="157163" cy="949325"/>
            </a:xfrm>
            <a:custGeom>
              <a:avLst/>
              <a:gdLst>
                <a:gd name="T0" fmla="*/ 0 w 99"/>
                <a:gd name="T1" fmla="*/ 95 h 598"/>
                <a:gd name="T2" fmla="*/ 0 w 99"/>
                <a:gd name="T3" fmla="*/ 0 h 598"/>
                <a:gd name="T4" fmla="*/ 99 w 99"/>
                <a:gd name="T5" fmla="*/ 0 h 598"/>
                <a:gd name="T6" fmla="*/ 99 w 99"/>
                <a:gd name="T7" fmla="*/ 95 h 598"/>
                <a:gd name="T8" fmla="*/ 0 w 99"/>
                <a:gd name="T9" fmla="*/ 95 h 598"/>
                <a:gd name="T10" fmla="*/ 99 w 99"/>
                <a:gd name="T11" fmla="*/ 598 h 598"/>
                <a:gd name="T12" fmla="*/ 0 w 99"/>
                <a:gd name="T13" fmla="*/ 598 h 598"/>
                <a:gd name="T14" fmla="*/ 0 w 99"/>
                <a:gd name="T15" fmla="*/ 176 h 598"/>
                <a:gd name="T16" fmla="*/ 99 w 99"/>
                <a:gd name="T17" fmla="*/ 176 h 598"/>
                <a:gd name="T18" fmla="*/ 99 w 99"/>
                <a:gd name="T19"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98">
                  <a:moveTo>
                    <a:pt x="0" y="95"/>
                  </a:moveTo>
                  <a:lnTo>
                    <a:pt x="0" y="0"/>
                  </a:lnTo>
                  <a:lnTo>
                    <a:pt x="99" y="0"/>
                  </a:lnTo>
                  <a:lnTo>
                    <a:pt x="99" y="95"/>
                  </a:lnTo>
                  <a:lnTo>
                    <a:pt x="0" y="95"/>
                  </a:lnTo>
                  <a:close/>
                  <a:moveTo>
                    <a:pt x="99" y="598"/>
                  </a:moveTo>
                  <a:lnTo>
                    <a:pt x="0" y="598"/>
                  </a:lnTo>
                  <a:lnTo>
                    <a:pt x="0" y="176"/>
                  </a:lnTo>
                  <a:lnTo>
                    <a:pt x="99" y="176"/>
                  </a:lnTo>
                  <a:lnTo>
                    <a:pt x="99"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0" name="Freeform 12">
              <a:extLst>
                <a:ext uri="{FF2B5EF4-FFF2-40B4-BE49-F238E27FC236}">
                  <a16:creationId xmlns:a16="http://schemas.microsoft.com/office/drawing/2014/main" id="{D86E8A86-5EA6-4FBF-BC19-DD9D48B551A5}"/>
                </a:ext>
              </a:extLst>
            </p:cNvPr>
            <p:cNvSpPr>
              <a:spLocks/>
            </p:cNvSpPr>
            <p:nvPr/>
          </p:nvSpPr>
          <p:spPr bwMode="gray">
            <a:xfrm>
              <a:off x="4375473" y="4520414"/>
              <a:ext cx="576263" cy="681038"/>
            </a:xfrm>
            <a:custGeom>
              <a:avLst/>
              <a:gdLst>
                <a:gd name="T0" fmla="*/ 112 w 154"/>
                <a:gd name="T1" fmla="*/ 181 h 181"/>
                <a:gd name="T2" fmla="*/ 112 w 154"/>
                <a:gd name="T3" fmla="*/ 79 h 181"/>
                <a:gd name="T4" fmla="*/ 106 w 154"/>
                <a:gd name="T5" fmla="*/ 48 h 181"/>
                <a:gd name="T6" fmla="*/ 82 w 154"/>
                <a:gd name="T7" fmla="*/ 38 h 181"/>
                <a:gd name="T8" fmla="*/ 52 w 154"/>
                <a:gd name="T9" fmla="*/ 53 h 181"/>
                <a:gd name="T10" fmla="*/ 41 w 154"/>
                <a:gd name="T11" fmla="*/ 95 h 181"/>
                <a:gd name="T12" fmla="*/ 41 w 154"/>
                <a:gd name="T13" fmla="*/ 181 h 181"/>
                <a:gd name="T14" fmla="*/ 0 w 154"/>
                <a:gd name="T15" fmla="*/ 181 h 181"/>
                <a:gd name="T16" fmla="*/ 0 w 154"/>
                <a:gd name="T17" fmla="*/ 3 h 181"/>
                <a:gd name="T18" fmla="*/ 41 w 154"/>
                <a:gd name="T19" fmla="*/ 3 h 181"/>
                <a:gd name="T20" fmla="*/ 41 w 154"/>
                <a:gd name="T21" fmla="*/ 30 h 181"/>
                <a:gd name="T22" fmla="*/ 100 w 154"/>
                <a:gd name="T23" fmla="*/ 0 h 181"/>
                <a:gd name="T24" fmla="*/ 144 w 154"/>
                <a:gd name="T25" fmla="*/ 21 h 181"/>
                <a:gd name="T26" fmla="*/ 154 w 154"/>
                <a:gd name="T27" fmla="*/ 70 h 181"/>
                <a:gd name="T28" fmla="*/ 154 w 154"/>
                <a:gd name="T29" fmla="*/ 181 h 181"/>
                <a:gd name="T30" fmla="*/ 112 w 154"/>
                <a:gd name="T3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1">
                  <a:moveTo>
                    <a:pt x="112" y="181"/>
                  </a:moveTo>
                  <a:cubicBezTo>
                    <a:pt x="112" y="79"/>
                    <a:pt x="112" y="79"/>
                    <a:pt x="112" y="79"/>
                  </a:cubicBezTo>
                  <a:cubicBezTo>
                    <a:pt x="112" y="65"/>
                    <a:pt x="111" y="55"/>
                    <a:pt x="106" y="48"/>
                  </a:cubicBezTo>
                  <a:cubicBezTo>
                    <a:pt x="101" y="41"/>
                    <a:pt x="93" y="38"/>
                    <a:pt x="82" y="38"/>
                  </a:cubicBezTo>
                  <a:cubicBezTo>
                    <a:pt x="70" y="38"/>
                    <a:pt x="59" y="44"/>
                    <a:pt x="52" y="53"/>
                  </a:cubicBezTo>
                  <a:cubicBezTo>
                    <a:pt x="43" y="65"/>
                    <a:pt x="41" y="78"/>
                    <a:pt x="41" y="95"/>
                  </a:cubicBezTo>
                  <a:cubicBezTo>
                    <a:pt x="41" y="181"/>
                    <a:pt x="41" y="181"/>
                    <a:pt x="41" y="181"/>
                  </a:cubicBezTo>
                  <a:cubicBezTo>
                    <a:pt x="0" y="181"/>
                    <a:pt x="0" y="181"/>
                    <a:pt x="0" y="181"/>
                  </a:cubicBezTo>
                  <a:cubicBezTo>
                    <a:pt x="0" y="3"/>
                    <a:pt x="0" y="3"/>
                    <a:pt x="0" y="3"/>
                  </a:cubicBezTo>
                  <a:cubicBezTo>
                    <a:pt x="41" y="3"/>
                    <a:pt x="41" y="3"/>
                    <a:pt x="41" y="3"/>
                  </a:cubicBezTo>
                  <a:cubicBezTo>
                    <a:pt x="41" y="30"/>
                    <a:pt x="41" y="30"/>
                    <a:pt x="41" y="30"/>
                  </a:cubicBezTo>
                  <a:cubicBezTo>
                    <a:pt x="54" y="12"/>
                    <a:pt x="75" y="0"/>
                    <a:pt x="100" y="0"/>
                  </a:cubicBezTo>
                  <a:cubicBezTo>
                    <a:pt x="121" y="0"/>
                    <a:pt x="135" y="8"/>
                    <a:pt x="144" y="21"/>
                  </a:cubicBezTo>
                  <a:cubicBezTo>
                    <a:pt x="151" y="32"/>
                    <a:pt x="154" y="46"/>
                    <a:pt x="154" y="70"/>
                  </a:cubicBezTo>
                  <a:cubicBezTo>
                    <a:pt x="154" y="181"/>
                    <a:pt x="154" y="181"/>
                    <a:pt x="154" y="181"/>
                  </a:cubicBezTo>
                  <a:lnTo>
                    <a:pt x="112"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1" name="Freeform 13">
              <a:extLst>
                <a:ext uri="{FF2B5EF4-FFF2-40B4-BE49-F238E27FC236}">
                  <a16:creationId xmlns:a16="http://schemas.microsoft.com/office/drawing/2014/main" id="{EC9B6889-FA29-42DD-9DF0-3939D906CE0A}"/>
                </a:ext>
              </a:extLst>
            </p:cNvPr>
            <p:cNvSpPr>
              <a:spLocks/>
            </p:cNvSpPr>
            <p:nvPr/>
          </p:nvSpPr>
          <p:spPr bwMode="gray">
            <a:xfrm>
              <a:off x="5105723" y="4252126"/>
              <a:ext cx="617538" cy="949325"/>
            </a:xfrm>
            <a:custGeom>
              <a:avLst/>
              <a:gdLst>
                <a:gd name="T0" fmla="*/ 276 w 389"/>
                <a:gd name="T1" fmla="*/ 598 h 598"/>
                <a:gd name="T2" fmla="*/ 158 w 389"/>
                <a:gd name="T3" fmla="*/ 406 h 598"/>
                <a:gd name="T4" fmla="*/ 97 w 389"/>
                <a:gd name="T5" fmla="*/ 470 h 598"/>
                <a:gd name="T6" fmla="*/ 97 w 389"/>
                <a:gd name="T7" fmla="*/ 598 h 598"/>
                <a:gd name="T8" fmla="*/ 0 w 389"/>
                <a:gd name="T9" fmla="*/ 598 h 598"/>
                <a:gd name="T10" fmla="*/ 0 w 389"/>
                <a:gd name="T11" fmla="*/ 0 h 598"/>
                <a:gd name="T12" fmla="*/ 97 w 389"/>
                <a:gd name="T13" fmla="*/ 0 h 598"/>
                <a:gd name="T14" fmla="*/ 97 w 389"/>
                <a:gd name="T15" fmla="*/ 356 h 598"/>
                <a:gd name="T16" fmla="*/ 257 w 389"/>
                <a:gd name="T17" fmla="*/ 176 h 598"/>
                <a:gd name="T18" fmla="*/ 375 w 389"/>
                <a:gd name="T19" fmla="*/ 176 h 598"/>
                <a:gd name="T20" fmla="*/ 229 w 389"/>
                <a:gd name="T21" fmla="*/ 337 h 598"/>
                <a:gd name="T22" fmla="*/ 389 w 389"/>
                <a:gd name="T23" fmla="*/ 598 h 598"/>
                <a:gd name="T24" fmla="*/ 276 w 389"/>
                <a:gd name="T25"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598">
                  <a:moveTo>
                    <a:pt x="276" y="598"/>
                  </a:moveTo>
                  <a:lnTo>
                    <a:pt x="158" y="406"/>
                  </a:lnTo>
                  <a:lnTo>
                    <a:pt x="97" y="470"/>
                  </a:lnTo>
                  <a:lnTo>
                    <a:pt x="97" y="598"/>
                  </a:lnTo>
                  <a:lnTo>
                    <a:pt x="0" y="598"/>
                  </a:lnTo>
                  <a:lnTo>
                    <a:pt x="0" y="0"/>
                  </a:lnTo>
                  <a:lnTo>
                    <a:pt x="97" y="0"/>
                  </a:lnTo>
                  <a:lnTo>
                    <a:pt x="97" y="356"/>
                  </a:lnTo>
                  <a:lnTo>
                    <a:pt x="257" y="176"/>
                  </a:lnTo>
                  <a:lnTo>
                    <a:pt x="375" y="176"/>
                  </a:lnTo>
                  <a:lnTo>
                    <a:pt x="229" y="337"/>
                  </a:lnTo>
                  <a:lnTo>
                    <a:pt x="389" y="598"/>
                  </a:lnTo>
                  <a:lnTo>
                    <a:pt x="276"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2" name="Freeform 14">
              <a:extLst>
                <a:ext uri="{FF2B5EF4-FFF2-40B4-BE49-F238E27FC236}">
                  <a16:creationId xmlns:a16="http://schemas.microsoft.com/office/drawing/2014/main" id="{305A65CC-530A-4747-86DE-21B8AAC564B2}"/>
                </a:ext>
              </a:extLst>
            </p:cNvPr>
            <p:cNvSpPr>
              <a:spLocks noEditPoints="1"/>
            </p:cNvSpPr>
            <p:nvPr/>
          </p:nvSpPr>
          <p:spPr bwMode="gray">
            <a:xfrm>
              <a:off x="6067748" y="4512476"/>
              <a:ext cx="620713" cy="708025"/>
            </a:xfrm>
            <a:custGeom>
              <a:avLst/>
              <a:gdLst>
                <a:gd name="T0" fmla="*/ 165 w 166"/>
                <a:gd name="T1" fmla="*/ 138 h 188"/>
                <a:gd name="T2" fmla="*/ 88 w 166"/>
                <a:gd name="T3" fmla="*/ 188 h 188"/>
                <a:gd name="T4" fmla="*/ 0 w 166"/>
                <a:gd name="T5" fmla="*/ 92 h 188"/>
                <a:gd name="T6" fmla="*/ 86 w 166"/>
                <a:gd name="T7" fmla="*/ 0 h 188"/>
                <a:gd name="T8" fmla="*/ 166 w 166"/>
                <a:gd name="T9" fmla="*/ 105 h 188"/>
                <a:gd name="T10" fmla="*/ 42 w 166"/>
                <a:gd name="T11" fmla="*/ 105 h 188"/>
                <a:gd name="T12" fmla="*/ 89 w 166"/>
                <a:gd name="T13" fmla="*/ 153 h 188"/>
                <a:gd name="T14" fmla="*/ 128 w 166"/>
                <a:gd name="T15" fmla="*/ 125 h 188"/>
                <a:gd name="T16" fmla="*/ 165 w 166"/>
                <a:gd name="T17" fmla="*/ 138 h 188"/>
                <a:gd name="T18" fmla="*/ 124 w 166"/>
                <a:gd name="T19" fmla="*/ 75 h 188"/>
                <a:gd name="T20" fmla="*/ 85 w 166"/>
                <a:gd name="T21" fmla="*/ 33 h 188"/>
                <a:gd name="T22" fmla="*/ 43 w 166"/>
                <a:gd name="T23" fmla="*/ 75 h 188"/>
                <a:gd name="T24" fmla="*/ 124 w 166"/>
                <a:gd name="T25" fmla="*/ 7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88">
                  <a:moveTo>
                    <a:pt x="165" y="138"/>
                  </a:moveTo>
                  <a:cubicBezTo>
                    <a:pt x="152" y="170"/>
                    <a:pt x="125" y="188"/>
                    <a:pt x="88" y="188"/>
                  </a:cubicBezTo>
                  <a:cubicBezTo>
                    <a:pt x="31" y="188"/>
                    <a:pt x="0" y="151"/>
                    <a:pt x="0" y="92"/>
                  </a:cubicBezTo>
                  <a:cubicBezTo>
                    <a:pt x="0" y="36"/>
                    <a:pt x="35" y="0"/>
                    <a:pt x="86" y="0"/>
                  </a:cubicBezTo>
                  <a:cubicBezTo>
                    <a:pt x="142" y="0"/>
                    <a:pt x="166" y="41"/>
                    <a:pt x="166" y="105"/>
                  </a:cubicBezTo>
                  <a:cubicBezTo>
                    <a:pt x="42" y="105"/>
                    <a:pt x="42" y="105"/>
                    <a:pt x="42" y="105"/>
                  </a:cubicBezTo>
                  <a:cubicBezTo>
                    <a:pt x="44" y="135"/>
                    <a:pt x="60" y="153"/>
                    <a:pt x="89" y="153"/>
                  </a:cubicBezTo>
                  <a:cubicBezTo>
                    <a:pt x="107" y="153"/>
                    <a:pt x="122" y="146"/>
                    <a:pt x="128" y="125"/>
                  </a:cubicBezTo>
                  <a:lnTo>
                    <a:pt x="165" y="138"/>
                  </a:lnTo>
                  <a:close/>
                  <a:moveTo>
                    <a:pt x="124" y="75"/>
                  </a:moveTo>
                  <a:cubicBezTo>
                    <a:pt x="122" y="47"/>
                    <a:pt x="108" y="33"/>
                    <a:pt x="85" y="33"/>
                  </a:cubicBezTo>
                  <a:cubicBezTo>
                    <a:pt x="62" y="33"/>
                    <a:pt x="46" y="47"/>
                    <a:pt x="43" y="75"/>
                  </a:cubicBezTo>
                  <a:lnTo>
                    <a:pt x="12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3" name="Freeform 15">
              <a:extLst>
                <a:ext uri="{FF2B5EF4-FFF2-40B4-BE49-F238E27FC236}">
                  <a16:creationId xmlns:a16="http://schemas.microsoft.com/office/drawing/2014/main" id="{4B4B56C6-5405-44C4-914F-CEBFC7674518}"/>
                </a:ext>
              </a:extLst>
            </p:cNvPr>
            <p:cNvSpPr>
              <a:spLocks/>
            </p:cNvSpPr>
            <p:nvPr/>
          </p:nvSpPr>
          <p:spPr bwMode="gray">
            <a:xfrm>
              <a:off x="6807523" y="4520414"/>
              <a:ext cx="581025" cy="681038"/>
            </a:xfrm>
            <a:custGeom>
              <a:avLst/>
              <a:gdLst>
                <a:gd name="T0" fmla="*/ 113 w 155"/>
                <a:gd name="T1" fmla="*/ 181 h 181"/>
                <a:gd name="T2" fmla="*/ 113 w 155"/>
                <a:gd name="T3" fmla="*/ 79 h 181"/>
                <a:gd name="T4" fmla="*/ 107 w 155"/>
                <a:gd name="T5" fmla="*/ 48 h 181"/>
                <a:gd name="T6" fmla="*/ 83 w 155"/>
                <a:gd name="T7" fmla="*/ 38 h 181"/>
                <a:gd name="T8" fmla="*/ 52 w 155"/>
                <a:gd name="T9" fmla="*/ 53 h 181"/>
                <a:gd name="T10" fmla="*/ 42 w 155"/>
                <a:gd name="T11" fmla="*/ 95 h 181"/>
                <a:gd name="T12" fmla="*/ 42 w 155"/>
                <a:gd name="T13" fmla="*/ 181 h 181"/>
                <a:gd name="T14" fmla="*/ 0 w 155"/>
                <a:gd name="T15" fmla="*/ 181 h 181"/>
                <a:gd name="T16" fmla="*/ 0 w 155"/>
                <a:gd name="T17" fmla="*/ 3 h 181"/>
                <a:gd name="T18" fmla="*/ 42 w 155"/>
                <a:gd name="T19" fmla="*/ 3 h 181"/>
                <a:gd name="T20" fmla="*/ 42 w 155"/>
                <a:gd name="T21" fmla="*/ 30 h 181"/>
                <a:gd name="T22" fmla="*/ 100 w 155"/>
                <a:gd name="T23" fmla="*/ 0 h 181"/>
                <a:gd name="T24" fmla="*/ 145 w 155"/>
                <a:gd name="T25" fmla="*/ 21 h 181"/>
                <a:gd name="T26" fmla="*/ 155 w 155"/>
                <a:gd name="T27" fmla="*/ 70 h 181"/>
                <a:gd name="T28" fmla="*/ 155 w 155"/>
                <a:gd name="T29" fmla="*/ 181 h 181"/>
                <a:gd name="T30" fmla="*/ 113 w 155"/>
                <a:gd name="T3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81">
                  <a:moveTo>
                    <a:pt x="113" y="181"/>
                  </a:moveTo>
                  <a:cubicBezTo>
                    <a:pt x="113" y="79"/>
                    <a:pt x="113" y="79"/>
                    <a:pt x="113" y="79"/>
                  </a:cubicBezTo>
                  <a:cubicBezTo>
                    <a:pt x="113" y="65"/>
                    <a:pt x="111" y="55"/>
                    <a:pt x="107" y="48"/>
                  </a:cubicBezTo>
                  <a:cubicBezTo>
                    <a:pt x="102" y="41"/>
                    <a:pt x="94" y="38"/>
                    <a:pt x="83" y="38"/>
                  </a:cubicBezTo>
                  <a:cubicBezTo>
                    <a:pt x="71" y="38"/>
                    <a:pt x="60" y="44"/>
                    <a:pt x="52" y="53"/>
                  </a:cubicBezTo>
                  <a:cubicBezTo>
                    <a:pt x="44" y="65"/>
                    <a:pt x="42" y="78"/>
                    <a:pt x="42" y="95"/>
                  </a:cubicBezTo>
                  <a:cubicBezTo>
                    <a:pt x="42" y="181"/>
                    <a:pt x="42" y="181"/>
                    <a:pt x="42" y="181"/>
                  </a:cubicBezTo>
                  <a:cubicBezTo>
                    <a:pt x="0" y="181"/>
                    <a:pt x="0" y="181"/>
                    <a:pt x="0" y="181"/>
                  </a:cubicBezTo>
                  <a:cubicBezTo>
                    <a:pt x="0" y="3"/>
                    <a:pt x="0" y="3"/>
                    <a:pt x="0" y="3"/>
                  </a:cubicBezTo>
                  <a:cubicBezTo>
                    <a:pt x="42" y="3"/>
                    <a:pt x="42" y="3"/>
                    <a:pt x="42" y="3"/>
                  </a:cubicBezTo>
                  <a:cubicBezTo>
                    <a:pt x="42" y="30"/>
                    <a:pt x="42" y="30"/>
                    <a:pt x="42" y="30"/>
                  </a:cubicBezTo>
                  <a:cubicBezTo>
                    <a:pt x="55" y="12"/>
                    <a:pt x="76" y="0"/>
                    <a:pt x="100" y="0"/>
                  </a:cubicBezTo>
                  <a:cubicBezTo>
                    <a:pt x="122" y="0"/>
                    <a:pt x="136" y="8"/>
                    <a:pt x="145" y="21"/>
                  </a:cubicBezTo>
                  <a:cubicBezTo>
                    <a:pt x="152" y="32"/>
                    <a:pt x="155" y="46"/>
                    <a:pt x="155" y="70"/>
                  </a:cubicBezTo>
                  <a:cubicBezTo>
                    <a:pt x="155" y="181"/>
                    <a:pt x="155" y="181"/>
                    <a:pt x="155" y="181"/>
                  </a:cubicBezTo>
                  <a:lnTo>
                    <a:pt x="11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4" name="Freeform 16">
              <a:extLst>
                <a:ext uri="{FF2B5EF4-FFF2-40B4-BE49-F238E27FC236}">
                  <a16:creationId xmlns:a16="http://schemas.microsoft.com/office/drawing/2014/main" id="{2678561C-329A-4968-83FC-C46289060076}"/>
                </a:ext>
              </a:extLst>
            </p:cNvPr>
            <p:cNvSpPr>
              <a:spLocks noEditPoints="1"/>
            </p:cNvSpPr>
            <p:nvPr/>
          </p:nvSpPr>
          <p:spPr bwMode="gray">
            <a:xfrm>
              <a:off x="7504436" y="4512476"/>
              <a:ext cx="620713" cy="708025"/>
            </a:xfrm>
            <a:custGeom>
              <a:avLst/>
              <a:gdLst>
                <a:gd name="T0" fmla="*/ 165 w 166"/>
                <a:gd name="T1" fmla="*/ 138 h 188"/>
                <a:gd name="T2" fmla="*/ 88 w 166"/>
                <a:gd name="T3" fmla="*/ 188 h 188"/>
                <a:gd name="T4" fmla="*/ 0 w 166"/>
                <a:gd name="T5" fmla="*/ 92 h 188"/>
                <a:gd name="T6" fmla="*/ 86 w 166"/>
                <a:gd name="T7" fmla="*/ 0 h 188"/>
                <a:gd name="T8" fmla="*/ 166 w 166"/>
                <a:gd name="T9" fmla="*/ 105 h 188"/>
                <a:gd name="T10" fmla="*/ 42 w 166"/>
                <a:gd name="T11" fmla="*/ 105 h 188"/>
                <a:gd name="T12" fmla="*/ 88 w 166"/>
                <a:gd name="T13" fmla="*/ 153 h 188"/>
                <a:gd name="T14" fmla="*/ 128 w 166"/>
                <a:gd name="T15" fmla="*/ 125 h 188"/>
                <a:gd name="T16" fmla="*/ 165 w 166"/>
                <a:gd name="T17" fmla="*/ 138 h 188"/>
                <a:gd name="T18" fmla="*/ 124 w 166"/>
                <a:gd name="T19" fmla="*/ 75 h 188"/>
                <a:gd name="T20" fmla="*/ 85 w 166"/>
                <a:gd name="T21" fmla="*/ 33 h 188"/>
                <a:gd name="T22" fmla="*/ 42 w 166"/>
                <a:gd name="T23" fmla="*/ 75 h 188"/>
                <a:gd name="T24" fmla="*/ 124 w 166"/>
                <a:gd name="T25" fmla="*/ 7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88">
                  <a:moveTo>
                    <a:pt x="165" y="138"/>
                  </a:moveTo>
                  <a:cubicBezTo>
                    <a:pt x="152" y="170"/>
                    <a:pt x="125" y="188"/>
                    <a:pt x="88" y="188"/>
                  </a:cubicBezTo>
                  <a:cubicBezTo>
                    <a:pt x="31" y="188"/>
                    <a:pt x="0" y="151"/>
                    <a:pt x="0" y="92"/>
                  </a:cubicBezTo>
                  <a:cubicBezTo>
                    <a:pt x="0" y="36"/>
                    <a:pt x="34" y="0"/>
                    <a:pt x="86" y="0"/>
                  </a:cubicBezTo>
                  <a:cubicBezTo>
                    <a:pt x="142" y="0"/>
                    <a:pt x="166" y="41"/>
                    <a:pt x="166" y="105"/>
                  </a:cubicBezTo>
                  <a:cubicBezTo>
                    <a:pt x="42" y="105"/>
                    <a:pt x="42" y="105"/>
                    <a:pt x="42" y="105"/>
                  </a:cubicBezTo>
                  <a:cubicBezTo>
                    <a:pt x="44" y="135"/>
                    <a:pt x="60" y="153"/>
                    <a:pt x="88" y="153"/>
                  </a:cubicBezTo>
                  <a:cubicBezTo>
                    <a:pt x="107" y="153"/>
                    <a:pt x="122" y="146"/>
                    <a:pt x="128" y="125"/>
                  </a:cubicBezTo>
                  <a:lnTo>
                    <a:pt x="165" y="138"/>
                  </a:lnTo>
                  <a:close/>
                  <a:moveTo>
                    <a:pt x="124" y="75"/>
                  </a:moveTo>
                  <a:cubicBezTo>
                    <a:pt x="122" y="47"/>
                    <a:pt x="108" y="33"/>
                    <a:pt x="85" y="33"/>
                  </a:cubicBezTo>
                  <a:cubicBezTo>
                    <a:pt x="62" y="33"/>
                    <a:pt x="45" y="47"/>
                    <a:pt x="42" y="75"/>
                  </a:cubicBezTo>
                  <a:lnTo>
                    <a:pt x="12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5" name="Freeform 17">
              <a:extLst>
                <a:ext uri="{FF2B5EF4-FFF2-40B4-BE49-F238E27FC236}">
                  <a16:creationId xmlns:a16="http://schemas.microsoft.com/office/drawing/2014/main" id="{FA623EDE-B5C4-4B4A-AD11-89251E49E610}"/>
                </a:ext>
              </a:extLst>
            </p:cNvPr>
            <p:cNvSpPr>
              <a:spLocks/>
            </p:cNvSpPr>
            <p:nvPr/>
          </p:nvSpPr>
          <p:spPr bwMode="gray">
            <a:xfrm>
              <a:off x="8244211" y="4523589"/>
              <a:ext cx="393700" cy="677863"/>
            </a:xfrm>
            <a:custGeom>
              <a:avLst/>
              <a:gdLst>
                <a:gd name="T0" fmla="*/ 0 w 105"/>
                <a:gd name="T1" fmla="*/ 180 h 180"/>
                <a:gd name="T2" fmla="*/ 0 w 105"/>
                <a:gd name="T3" fmla="*/ 2 h 180"/>
                <a:gd name="T4" fmla="*/ 40 w 105"/>
                <a:gd name="T5" fmla="*/ 2 h 180"/>
                <a:gd name="T6" fmla="*/ 40 w 105"/>
                <a:gd name="T7" fmla="*/ 30 h 180"/>
                <a:gd name="T8" fmla="*/ 89 w 105"/>
                <a:gd name="T9" fmla="*/ 0 h 180"/>
                <a:gd name="T10" fmla="*/ 105 w 105"/>
                <a:gd name="T11" fmla="*/ 2 h 180"/>
                <a:gd name="T12" fmla="*/ 105 w 105"/>
                <a:gd name="T13" fmla="*/ 44 h 180"/>
                <a:gd name="T14" fmla="*/ 85 w 105"/>
                <a:gd name="T15" fmla="*/ 39 h 180"/>
                <a:gd name="T16" fmla="*/ 51 w 105"/>
                <a:gd name="T17" fmla="*/ 57 h 180"/>
                <a:gd name="T18" fmla="*/ 42 w 105"/>
                <a:gd name="T19" fmla="*/ 97 h 180"/>
                <a:gd name="T20" fmla="*/ 42 w 105"/>
                <a:gd name="T21" fmla="*/ 180 h 180"/>
                <a:gd name="T22" fmla="*/ 0 w 105"/>
                <a:gd name="T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80">
                  <a:moveTo>
                    <a:pt x="0" y="180"/>
                  </a:moveTo>
                  <a:cubicBezTo>
                    <a:pt x="0" y="2"/>
                    <a:pt x="0" y="2"/>
                    <a:pt x="0" y="2"/>
                  </a:cubicBezTo>
                  <a:cubicBezTo>
                    <a:pt x="40" y="2"/>
                    <a:pt x="40" y="2"/>
                    <a:pt x="40" y="2"/>
                  </a:cubicBezTo>
                  <a:cubicBezTo>
                    <a:pt x="40" y="30"/>
                    <a:pt x="40" y="30"/>
                    <a:pt x="40" y="30"/>
                  </a:cubicBezTo>
                  <a:cubicBezTo>
                    <a:pt x="51" y="11"/>
                    <a:pt x="65" y="0"/>
                    <a:pt x="89" y="0"/>
                  </a:cubicBezTo>
                  <a:cubicBezTo>
                    <a:pt x="95" y="0"/>
                    <a:pt x="99" y="1"/>
                    <a:pt x="105" y="2"/>
                  </a:cubicBezTo>
                  <a:cubicBezTo>
                    <a:pt x="105" y="44"/>
                    <a:pt x="105" y="44"/>
                    <a:pt x="105" y="44"/>
                  </a:cubicBezTo>
                  <a:cubicBezTo>
                    <a:pt x="98" y="41"/>
                    <a:pt x="92" y="39"/>
                    <a:pt x="85" y="39"/>
                  </a:cubicBezTo>
                  <a:cubicBezTo>
                    <a:pt x="71" y="39"/>
                    <a:pt x="59" y="46"/>
                    <a:pt x="51" y="57"/>
                  </a:cubicBezTo>
                  <a:cubicBezTo>
                    <a:pt x="45" y="66"/>
                    <a:pt x="42" y="78"/>
                    <a:pt x="42" y="97"/>
                  </a:cubicBezTo>
                  <a:cubicBezTo>
                    <a:pt x="42" y="180"/>
                    <a:pt x="42" y="180"/>
                    <a:pt x="42" y="180"/>
                  </a:cubicBezTo>
                  <a:lnTo>
                    <a:pt x="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6" name="Freeform 18">
              <a:extLst>
                <a:ext uri="{FF2B5EF4-FFF2-40B4-BE49-F238E27FC236}">
                  <a16:creationId xmlns:a16="http://schemas.microsoft.com/office/drawing/2014/main" id="{7E78510E-A554-4F73-B165-039816AC6727}"/>
                </a:ext>
              </a:extLst>
            </p:cNvPr>
            <p:cNvSpPr>
              <a:spLocks noEditPoints="1"/>
            </p:cNvSpPr>
            <p:nvPr/>
          </p:nvSpPr>
          <p:spPr bwMode="gray">
            <a:xfrm>
              <a:off x="8687123" y="4523589"/>
              <a:ext cx="623888" cy="960438"/>
            </a:xfrm>
            <a:custGeom>
              <a:avLst/>
              <a:gdLst>
                <a:gd name="T0" fmla="*/ 124 w 167"/>
                <a:gd name="T1" fmla="*/ 155 h 255"/>
                <a:gd name="T2" fmla="*/ 71 w 167"/>
                <a:gd name="T3" fmla="*/ 178 h 255"/>
                <a:gd name="T4" fmla="*/ 0 w 167"/>
                <a:gd name="T5" fmla="*/ 89 h 255"/>
                <a:gd name="T6" fmla="*/ 74 w 167"/>
                <a:gd name="T7" fmla="*/ 0 h 255"/>
                <a:gd name="T8" fmla="*/ 126 w 167"/>
                <a:gd name="T9" fmla="*/ 25 h 255"/>
                <a:gd name="T10" fmla="*/ 126 w 167"/>
                <a:gd name="T11" fmla="*/ 3 h 255"/>
                <a:gd name="T12" fmla="*/ 167 w 167"/>
                <a:gd name="T13" fmla="*/ 3 h 255"/>
                <a:gd name="T14" fmla="*/ 167 w 167"/>
                <a:gd name="T15" fmla="*/ 168 h 255"/>
                <a:gd name="T16" fmla="*/ 139 w 167"/>
                <a:gd name="T17" fmla="*/ 241 h 255"/>
                <a:gd name="T18" fmla="*/ 83 w 167"/>
                <a:gd name="T19" fmla="*/ 255 h 255"/>
                <a:gd name="T20" fmla="*/ 4 w 167"/>
                <a:gd name="T21" fmla="*/ 200 h 255"/>
                <a:gd name="T22" fmla="*/ 48 w 167"/>
                <a:gd name="T23" fmla="*/ 192 h 255"/>
                <a:gd name="T24" fmla="*/ 84 w 167"/>
                <a:gd name="T25" fmla="*/ 221 h 255"/>
                <a:gd name="T26" fmla="*/ 117 w 167"/>
                <a:gd name="T27" fmla="*/ 206 h 255"/>
                <a:gd name="T28" fmla="*/ 124 w 167"/>
                <a:gd name="T29" fmla="*/ 172 h 255"/>
                <a:gd name="T30" fmla="*/ 124 w 167"/>
                <a:gd name="T31" fmla="*/ 155 h 255"/>
                <a:gd name="T32" fmla="*/ 86 w 167"/>
                <a:gd name="T33" fmla="*/ 34 h 255"/>
                <a:gd name="T34" fmla="*/ 43 w 167"/>
                <a:gd name="T35" fmla="*/ 89 h 255"/>
                <a:gd name="T36" fmla="*/ 85 w 167"/>
                <a:gd name="T37" fmla="*/ 145 h 255"/>
                <a:gd name="T38" fmla="*/ 125 w 167"/>
                <a:gd name="T39" fmla="*/ 93 h 255"/>
                <a:gd name="T40" fmla="*/ 86 w 167"/>
                <a:gd name="T41" fmla="*/ 3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7" h="255">
                  <a:moveTo>
                    <a:pt x="124" y="155"/>
                  </a:moveTo>
                  <a:cubicBezTo>
                    <a:pt x="111" y="170"/>
                    <a:pt x="94" y="178"/>
                    <a:pt x="71" y="178"/>
                  </a:cubicBezTo>
                  <a:cubicBezTo>
                    <a:pt x="28" y="178"/>
                    <a:pt x="0" y="145"/>
                    <a:pt x="0" y="89"/>
                  </a:cubicBezTo>
                  <a:cubicBezTo>
                    <a:pt x="0" y="33"/>
                    <a:pt x="30" y="0"/>
                    <a:pt x="74" y="0"/>
                  </a:cubicBezTo>
                  <a:cubicBezTo>
                    <a:pt x="99" y="0"/>
                    <a:pt x="116" y="8"/>
                    <a:pt x="126" y="25"/>
                  </a:cubicBezTo>
                  <a:cubicBezTo>
                    <a:pt x="126" y="3"/>
                    <a:pt x="126" y="3"/>
                    <a:pt x="126" y="3"/>
                  </a:cubicBezTo>
                  <a:cubicBezTo>
                    <a:pt x="167" y="3"/>
                    <a:pt x="167" y="3"/>
                    <a:pt x="167" y="3"/>
                  </a:cubicBezTo>
                  <a:cubicBezTo>
                    <a:pt x="167" y="168"/>
                    <a:pt x="167" y="168"/>
                    <a:pt x="167" y="168"/>
                  </a:cubicBezTo>
                  <a:cubicBezTo>
                    <a:pt x="167" y="205"/>
                    <a:pt x="158" y="228"/>
                    <a:pt x="139" y="241"/>
                  </a:cubicBezTo>
                  <a:cubicBezTo>
                    <a:pt x="126" y="251"/>
                    <a:pt x="105" y="255"/>
                    <a:pt x="83" y="255"/>
                  </a:cubicBezTo>
                  <a:cubicBezTo>
                    <a:pt x="39" y="255"/>
                    <a:pt x="12" y="236"/>
                    <a:pt x="4" y="200"/>
                  </a:cubicBezTo>
                  <a:cubicBezTo>
                    <a:pt x="48" y="192"/>
                    <a:pt x="48" y="192"/>
                    <a:pt x="48" y="192"/>
                  </a:cubicBezTo>
                  <a:cubicBezTo>
                    <a:pt x="51" y="211"/>
                    <a:pt x="64" y="221"/>
                    <a:pt x="84" y="221"/>
                  </a:cubicBezTo>
                  <a:cubicBezTo>
                    <a:pt x="101" y="221"/>
                    <a:pt x="111" y="216"/>
                    <a:pt x="117" y="206"/>
                  </a:cubicBezTo>
                  <a:cubicBezTo>
                    <a:pt x="122" y="199"/>
                    <a:pt x="124" y="187"/>
                    <a:pt x="124" y="172"/>
                  </a:cubicBezTo>
                  <a:lnTo>
                    <a:pt x="124" y="155"/>
                  </a:lnTo>
                  <a:close/>
                  <a:moveTo>
                    <a:pt x="86" y="34"/>
                  </a:moveTo>
                  <a:cubicBezTo>
                    <a:pt x="60" y="34"/>
                    <a:pt x="43" y="54"/>
                    <a:pt x="43" y="89"/>
                  </a:cubicBezTo>
                  <a:cubicBezTo>
                    <a:pt x="43" y="125"/>
                    <a:pt x="59" y="145"/>
                    <a:pt x="85" y="145"/>
                  </a:cubicBezTo>
                  <a:cubicBezTo>
                    <a:pt x="109" y="145"/>
                    <a:pt x="124" y="128"/>
                    <a:pt x="125" y="93"/>
                  </a:cubicBezTo>
                  <a:cubicBezTo>
                    <a:pt x="125" y="56"/>
                    <a:pt x="112" y="34"/>
                    <a:pt x="8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7" name="Freeform 19">
              <a:extLst>
                <a:ext uri="{FF2B5EF4-FFF2-40B4-BE49-F238E27FC236}">
                  <a16:creationId xmlns:a16="http://schemas.microsoft.com/office/drawing/2014/main" id="{9D9CDDBA-195D-4D39-8013-0D1C0A9DEE9C}"/>
                </a:ext>
              </a:extLst>
            </p:cNvPr>
            <p:cNvSpPr>
              <a:spLocks/>
            </p:cNvSpPr>
            <p:nvPr/>
          </p:nvSpPr>
          <p:spPr bwMode="gray">
            <a:xfrm>
              <a:off x="9390386" y="4531526"/>
              <a:ext cx="661988" cy="952500"/>
            </a:xfrm>
            <a:custGeom>
              <a:avLst/>
              <a:gdLst>
                <a:gd name="T0" fmla="*/ 69 w 177"/>
                <a:gd name="T1" fmla="*/ 181 h 253"/>
                <a:gd name="T2" fmla="*/ 0 w 177"/>
                <a:gd name="T3" fmla="*/ 0 h 253"/>
                <a:gd name="T4" fmla="*/ 47 w 177"/>
                <a:gd name="T5" fmla="*/ 0 h 253"/>
                <a:gd name="T6" fmla="*/ 92 w 177"/>
                <a:gd name="T7" fmla="*/ 133 h 253"/>
                <a:gd name="T8" fmla="*/ 133 w 177"/>
                <a:gd name="T9" fmla="*/ 0 h 253"/>
                <a:gd name="T10" fmla="*/ 177 w 177"/>
                <a:gd name="T11" fmla="*/ 0 h 253"/>
                <a:gd name="T12" fmla="*/ 114 w 177"/>
                <a:gd name="T13" fmla="*/ 178 h 253"/>
                <a:gd name="T14" fmla="*/ 38 w 177"/>
                <a:gd name="T15" fmla="*/ 253 h 253"/>
                <a:gd name="T16" fmla="*/ 17 w 177"/>
                <a:gd name="T17" fmla="*/ 251 h 253"/>
                <a:gd name="T18" fmla="*/ 17 w 177"/>
                <a:gd name="T19" fmla="*/ 215 h 253"/>
                <a:gd name="T20" fmla="*/ 33 w 177"/>
                <a:gd name="T21" fmla="*/ 218 h 253"/>
                <a:gd name="T22" fmla="*/ 66 w 177"/>
                <a:gd name="T23" fmla="*/ 189 h 253"/>
                <a:gd name="T24" fmla="*/ 69 w 177"/>
                <a:gd name="T25" fmla="*/ 18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53">
                  <a:moveTo>
                    <a:pt x="69" y="181"/>
                  </a:moveTo>
                  <a:cubicBezTo>
                    <a:pt x="0" y="0"/>
                    <a:pt x="0" y="0"/>
                    <a:pt x="0" y="0"/>
                  </a:cubicBezTo>
                  <a:cubicBezTo>
                    <a:pt x="47" y="0"/>
                    <a:pt x="47" y="0"/>
                    <a:pt x="47" y="0"/>
                  </a:cubicBezTo>
                  <a:cubicBezTo>
                    <a:pt x="65" y="51"/>
                    <a:pt x="80" y="96"/>
                    <a:pt x="92" y="133"/>
                  </a:cubicBezTo>
                  <a:cubicBezTo>
                    <a:pt x="103" y="97"/>
                    <a:pt x="117" y="49"/>
                    <a:pt x="133" y="0"/>
                  </a:cubicBezTo>
                  <a:cubicBezTo>
                    <a:pt x="177" y="0"/>
                    <a:pt x="177" y="0"/>
                    <a:pt x="177" y="0"/>
                  </a:cubicBezTo>
                  <a:cubicBezTo>
                    <a:pt x="114" y="178"/>
                    <a:pt x="114" y="178"/>
                    <a:pt x="114" y="178"/>
                  </a:cubicBezTo>
                  <a:cubicBezTo>
                    <a:pt x="93" y="238"/>
                    <a:pt x="81" y="253"/>
                    <a:pt x="38" y="253"/>
                  </a:cubicBezTo>
                  <a:cubicBezTo>
                    <a:pt x="31" y="253"/>
                    <a:pt x="23" y="252"/>
                    <a:pt x="17" y="251"/>
                  </a:cubicBezTo>
                  <a:cubicBezTo>
                    <a:pt x="17" y="215"/>
                    <a:pt x="17" y="215"/>
                    <a:pt x="17" y="215"/>
                  </a:cubicBezTo>
                  <a:cubicBezTo>
                    <a:pt x="22" y="217"/>
                    <a:pt x="29" y="218"/>
                    <a:pt x="33" y="218"/>
                  </a:cubicBezTo>
                  <a:cubicBezTo>
                    <a:pt x="51" y="218"/>
                    <a:pt x="58" y="213"/>
                    <a:pt x="66" y="189"/>
                  </a:cubicBezTo>
                  <a:lnTo>
                    <a:pt x="6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30" name="Foliennummernplatzhalter 5">
            <a:extLst>
              <a:ext uri="{FF2B5EF4-FFF2-40B4-BE49-F238E27FC236}">
                <a16:creationId xmlns:a16="http://schemas.microsoft.com/office/drawing/2014/main" id="{879D6225-AAAB-4E3F-A474-47B0202D1556}"/>
              </a:ext>
            </a:extLst>
          </p:cNvPr>
          <p:cNvSpPr>
            <a:spLocks noGrp="1"/>
          </p:cNvSpPr>
          <p:nvPr>
            <p:ph type="sldNum" sz="quarter" idx="5"/>
          </p:nvPr>
        </p:nvSpPr>
        <p:spPr bwMode="gray">
          <a:xfrm>
            <a:off x="5995497" y="9445608"/>
            <a:ext cx="210050" cy="194344"/>
          </a:xfrm>
          <a:prstGeom prst="rect">
            <a:avLst/>
          </a:prstGeom>
        </p:spPr>
        <p:txBody>
          <a:bodyPr vert="horz" wrap="none" lIns="0" tIns="0" rIns="0" bIns="0" rtlCol="0" anchor="ctr"/>
          <a:lstStyle>
            <a:lvl1pPr algn="r">
              <a:lnSpc>
                <a:spcPct val="100000"/>
              </a:lnSpc>
              <a:defRPr sz="900">
                <a:solidFill>
                  <a:schemeClr val="tx1">
                    <a:tint val="75000"/>
                  </a:schemeClr>
                </a:solidFill>
              </a:defRPr>
            </a:lvl1pPr>
          </a:lstStyle>
          <a:p>
            <a:fld id="{3B140A39-527A-45CF-A911-B921024B92E6}" type="slidenum">
              <a:rPr lang="en-US" smtClean="0"/>
              <a:pPr/>
              <a:t>‹#›</a:t>
            </a:fld>
            <a:endParaRPr lang="en-US"/>
          </a:p>
        </p:txBody>
      </p:sp>
      <p:sp>
        <p:nvSpPr>
          <p:cNvPr id="31" name="Fußzeilenplatzhalter 3">
            <a:extLst>
              <a:ext uri="{FF2B5EF4-FFF2-40B4-BE49-F238E27FC236}">
                <a16:creationId xmlns:a16="http://schemas.microsoft.com/office/drawing/2014/main" id="{C3DE0FD1-BEB5-4318-8DEF-192309B4DFF3}"/>
              </a:ext>
            </a:extLst>
          </p:cNvPr>
          <p:cNvSpPr>
            <a:spLocks noGrp="1"/>
          </p:cNvSpPr>
          <p:nvPr>
            <p:ph type="ftr" sz="quarter" idx="4"/>
          </p:nvPr>
        </p:nvSpPr>
        <p:spPr bwMode="gray">
          <a:xfrm>
            <a:off x="673614" y="9445608"/>
            <a:ext cx="5076209" cy="194344"/>
          </a:xfrm>
          <a:prstGeom prst="rect">
            <a:avLst/>
          </a:prstGeom>
        </p:spPr>
        <p:txBody>
          <a:bodyPr vert="horz" lIns="0" tIns="45720" rIns="0" bIns="45720" rtlCol="0" anchor="ctr"/>
          <a:lstStyle>
            <a:lvl1pPr algn="r">
              <a:defRPr sz="900">
                <a:solidFill>
                  <a:schemeClr val="accent6"/>
                </a:solidFill>
              </a:defRPr>
            </a:lvl1pPr>
          </a:lstStyle>
          <a:p>
            <a:r>
              <a:rPr lang="en-US"/>
              <a:t>BayWa r.e. Master 2021</a:t>
            </a:r>
          </a:p>
        </p:txBody>
      </p:sp>
      <p:sp>
        <p:nvSpPr>
          <p:cNvPr id="32" name="Rechteck 31">
            <a:extLst>
              <a:ext uri="{FF2B5EF4-FFF2-40B4-BE49-F238E27FC236}">
                <a16:creationId xmlns:a16="http://schemas.microsoft.com/office/drawing/2014/main" id="{21DC6FB4-9141-459B-996E-9A9C39DA7D19}"/>
              </a:ext>
            </a:extLst>
          </p:cNvPr>
          <p:cNvSpPr/>
          <p:nvPr/>
        </p:nvSpPr>
        <p:spPr bwMode="gray">
          <a:xfrm>
            <a:off x="5875398" y="9509373"/>
            <a:ext cx="60180" cy="668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124748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b="1" kern="1200">
        <a:solidFill>
          <a:schemeClr val="accent1"/>
        </a:solidFill>
        <a:latin typeface="+mn-lt"/>
        <a:ea typeface="+mn-ea"/>
        <a:cs typeface="+mn-cs"/>
      </a:defRPr>
    </a:lvl1pPr>
    <a:lvl2pPr marL="0" indent="0" algn="l" defTabSz="914400" rtl="0" eaLnBrk="1" latinLnBrk="0" hangingPunct="1">
      <a:defRPr sz="1200" kern="1200">
        <a:solidFill>
          <a:schemeClr val="tx1"/>
        </a:solidFill>
        <a:latin typeface="+mn-lt"/>
        <a:ea typeface="+mn-ea"/>
        <a:cs typeface="+mn-cs"/>
      </a:defRPr>
    </a:lvl2pPr>
    <a:lvl3pPr marL="266700" indent="-266700" algn="l" defTabSz="914400" rtl="0" eaLnBrk="1" latinLnBrk="0" hangingPunct="1">
      <a:buClr>
        <a:schemeClr val="accent1"/>
      </a:buClr>
      <a:buFont typeface="Wingdings" panose="05000000000000000000" pitchFamily="2" charset="2"/>
      <a:buChar char="n"/>
      <a:defRPr sz="1200" kern="1200">
        <a:solidFill>
          <a:schemeClr val="tx1"/>
        </a:solidFill>
        <a:latin typeface="+mn-lt"/>
        <a:ea typeface="+mn-ea"/>
        <a:cs typeface="+mn-cs"/>
      </a:defRPr>
    </a:lvl3pPr>
    <a:lvl4pPr marL="450850" indent="-1841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628650" indent="-1778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628650" indent="-1778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6pPr>
    <a:lvl7pPr marL="628650" indent="-1778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7pPr>
    <a:lvl8pPr marL="628650" indent="-1778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8pPr>
    <a:lvl9pPr marL="628650" indent="-1778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94" userDrawn="1">
          <p15:clr>
            <a:srgbClr val="F26B43"/>
          </p15:clr>
        </p15:guide>
        <p15:guide id="2" pos="39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06388" y="1044575"/>
            <a:ext cx="3186112" cy="17922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B140A39-527A-45CF-A911-B921024B92E6}" type="slidenum">
              <a:rPr lang="en-US" smtClean="0"/>
              <a:pPr/>
              <a:t>1</a:t>
            </a:fld>
            <a:endParaRPr lang="en-US"/>
          </a:p>
        </p:txBody>
      </p:sp>
      <p:sp>
        <p:nvSpPr>
          <p:cNvPr id="5" name="Fußzeilenplatzhalt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18332558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140A39-527A-45CF-A911-B921024B92E6}" type="slidenum">
              <a:rPr lang="en-US" smtClean="0"/>
              <a:pPr/>
              <a:t>14</a:t>
            </a:fld>
            <a:endParaRPr lang="en-US"/>
          </a:p>
        </p:txBody>
      </p:sp>
    </p:spTree>
    <p:extLst>
      <p:ext uri="{BB962C8B-B14F-4D97-AF65-F5344CB8AC3E}">
        <p14:creationId xmlns:p14="http://schemas.microsoft.com/office/powerpoint/2010/main" val="2549413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9238" y="1339850"/>
            <a:ext cx="3248025" cy="1827213"/>
          </a:xfrm>
        </p:spPr>
      </p:sp>
      <p:sp>
        <p:nvSpPr>
          <p:cNvPr id="3" name="Notizenplatzhalter 2"/>
          <p:cNvSpPr>
            <a:spLocks noGrp="1"/>
          </p:cNvSpPr>
          <p:nvPr>
            <p:ph type="body" idx="1"/>
          </p:nvPr>
        </p:nvSpPr>
        <p:spPr/>
        <p:txBody>
          <a:bodyPr/>
          <a:lstStyle/>
          <a:p>
            <a:endParaRPr lang="en-US"/>
          </a:p>
        </p:txBody>
      </p:sp>
      <p:sp>
        <p:nvSpPr>
          <p:cNvPr id="4" name="Fußzeilenplatzhalter 3">
            <a:extLst>
              <a:ext uri="{FF2B5EF4-FFF2-40B4-BE49-F238E27FC236}">
                <a16:creationId xmlns:a16="http://schemas.microsoft.com/office/drawing/2014/main" id="{FE154414-8B1D-4982-B906-153649A09919}"/>
              </a:ext>
            </a:extLst>
          </p:cNvPr>
          <p:cNvSpPr>
            <a:spLocks noGrp="1"/>
          </p:cNvSpPr>
          <p:nvPr>
            <p:ph type="ftr" sz="quarter" idx="4"/>
          </p:nvPr>
        </p:nvSpPr>
        <p:spPr/>
        <p:txBody>
          <a:bodyPr/>
          <a:lstStyle/>
          <a:p>
            <a:r>
              <a:rPr lang="en-US"/>
              <a:t>BayWa r.e. Master 2021</a:t>
            </a:r>
          </a:p>
        </p:txBody>
      </p:sp>
      <p:sp>
        <p:nvSpPr>
          <p:cNvPr id="5" name="Slide Number Placeholder 4">
            <a:extLst>
              <a:ext uri="{FF2B5EF4-FFF2-40B4-BE49-F238E27FC236}">
                <a16:creationId xmlns:a16="http://schemas.microsoft.com/office/drawing/2014/main" id="{98F3DECD-5E14-4916-876A-B1B1D3E1BC72}"/>
              </a:ext>
            </a:extLst>
          </p:cNvPr>
          <p:cNvSpPr>
            <a:spLocks noGrp="1"/>
          </p:cNvSpPr>
          <p:nvPr>
            <p:ph type="sldNum" sz="quarter" idx="5"/>
          </p:nvPr>
        </p:nvSpPr>
        <p:spPr/>
        <p:txBody>
          <a:bodyPr/>
          <a:lstStyle/>
          <a:p>
            <a:fld id="{3B140A39-527A-45CF-A911-B921024B92E6}" type="slidenum">
              <a:rPr lang="en-US" smtClean="0"/>
              <a:pPr/>
              <a:t>15</a:t>
            </a:fld>
            <a:endParaRPr lang="en-US"/>
          </a:p>
        </p:txBody>
      </p:sp>
    </p:spTree>
    <p:extLst>
      <p:ext uri="{BB962C8B-B14F-4D97-AF65-F5344CB8AC3E}">
        <p14:creationId xmlns:p14="http://schemas.microsoft.com/office/powerpoint/2010/main" val="1421743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06388" y="1044575"/>
            <a:ext cx="3186112" cy="17922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B140A39-527A-45CF-A911-B921024B92E6}" type="slidenum">
              <a:rPr lang="de-DE" smtClean="0">
                <a:solidFill>
                  <a:schemeClr val="tx1"/>
                </a:solidFill>
              </a:rPr>
              <a:pPr/>
              <a:t>2</a:t>
            </a:fld>
            <a:endParaRPr lang="de-DE">
              <a:solidFill>
                <a:schemeClr val="tx1"/>
              </a:solidFill>
            </a:endParaRPr>
          </a:p>
        </p:txBody>
      </p:sp>
    </p:spTree>
    <p:extLst>
      <p:ext uri="{BB962C8B-B14F-4D97-AF65-F5344CB8AC3E}">
        <p14:creationId xmlns:p14="http://schemas.microsoft.com/office/powerpoint/2010/main" val="2430382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06388" y="1044575"/>
            <a:ext cx="3186112" cy="1792288"/>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5"/>
          </p:nvPr>
        </p:nvSpPr>
        <p:spPr/>
        <p:txBody>
          <a:bodyPr/>
          <a:lstStyle/>
          <a:p>
            <a:fld id="{3B140A39-527A-45CF-A911-B921024B92E6}" type="slidenum">
              <a:rPr lang="en-US" smtClean="0"/>
              <a:pPr/>
              <a:t>3</a:t>
            </a:fld>
            <a:endParaRPr lang="en-US"/>
          </a:p>
        </p:txBody>
      </p:sp>
      <p:sp>
        <p:nvSpPr>
          <p:cNvPr id="5" name="Fußzeilenplatzhalter 4">
            <a:extLst>
              <a:ext uri="{FF2B5EF4-FFF2-40B4-BE49-F238E27FC236}">
                <a16:creationId xmlns:a16="http://schemas.microsoft.com/office/drawing/2014/main" id="{81D0E68E-DBCD-41A9-B77D-82959A018BC1}"/>
              </a:ext>
            </a:extLst>
          </p:cNvPr>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2453982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r>
              <a:rPr lang="en-US" dirty="0"/>
              <a:t>Our business model focuses on sale at RTB with EPC commitments. We leverage over 30 years of experience in the wind and solar energy sectors, with our expertise ranging from traditional projects to innovative solutions such as </a:t>
            </a:r>
            <a:r>
              <a:rPr lang="en-US" dirty="0" err="1"/>
              <a:t>agri</a:t>
            </a:r>
            <a:r>
              <a:rPr lang="en-US" dirty="0"/>
              <a:t>-PV, floating-PV, and offshore wind.</a:t>
            </a:r>
          </a:p>
        </p:txBody>
      </p:sp>
      <p:sp>
        <p:nvSpPr>
          <p:cNvPr id="4" name="Slide Number Placeholder 3"/>
          <p:cNvSpPr>
            <a:spLocks noGrp="1"/>
          </p:cNvSpPr>
          <p:nvPr>
            <p:ph type="sldNum" sz="quarter" idx="5"/>
          </p:nvPr>
        </p:nvSpPr>
        <p:spPr/>
        <p:txBody>
          <a:bodyPr/>
          <a:lstStyle/>
          <a:p>
            <a:fld id="{3B140A39-527A-45CF-A911-B921024B92E6}" type="slidenum">
              <a:rPr lang="en-US" smtClean="0"/>
              <a:pPr/>
              <a:t>4</a:t>
            </a:fld>
            <a:endParaRPr lang="en-US"/>
          </a:p>
        </p:txBody>
      </p:sp>
      <p:sp>
        <p:nvSpPr>
          <p:cNvPr id="5" name="Footer Placehold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2079864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140A39-527A-45CF-A911-B921024B92E6}" type="slidenum">
              <a:rPr lang="en-US" smtClean="0"/>
              <a:pPr/>
              <a:t>5</a:t>
            </a:fld>
            <a:endParaRPr lang="en-US"/>
          </a:p>
        </p:txBody>
      </p:sp>
      <p:sp>
        <p:nvSpPr>
          <p:cNvPr id="5" name="Footer Placehold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285699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pPr lvl="2">
              <a:lnSpc>
                <a:spcPct val="90000"/>
              </a:lnSpc>
            </a:pPr>
            <a:r>
              <a:rPr lang="en-GB" sz="1100" dirty="0"/>
              <a:t>Why floating-PV?</a:t>
            </a:r>
          </a:p>
          <a:p>
            <a:pPr lvl="3">
              <a:lnSpc>
                <a:spcPct val="90000"/>
              </a:lnSpc>
            </a:pPr>
            <a:r>
              <a:rPr lang="en-US" sz="1100" dirty="0"/>
              <a:t>No use of agricultural land, avoidance of land use conflict​ and little site preparation/vegetation removal needed for construction</a:t>
            </a:r>
          </a:p>
          <a:p>
            <a:pPr lvl="3">
              <a:lnSpc>
                <a:spcPct val="90000"/>
              </a:lnSpc>
            </a:pPr>
            <a:r>
              <a:rPr lang="en-US" sz="1100" dirty="0"/>
              <a:t>East-West configuration allows a more compact system, ​more power per area (up to 2 MWp/ha) and lower cable losses</a:t>
            </a:r>
          </a:p>
          <a:p>
            <a:pPr lvl="3">
              <a:lnSpc>
                <a:spcPct val="90000"/>
              </a:lnSpc>
            </a:pPr>
            <a:r>
              <a:rPr lang="en-US" sz="1100" dirty="0"/>
              <a:t>Very fast construction of the plant (up to 5MWp/week)</a:t>
            </a:r>
          </a:p>
          <a:p>
            <a:pPr lvl="3">
              <a:lnSpc>
                <a:spcPct val="90000"/>
              </a:lnSpc>
            </a:pPr>
            <a:endParaRPr kumimoji="0" lang="en-US" sz="1100" b="0" i="0" u="none" strike="noStrike" kern="1200" cap="none" spc="0" normalizeH="0" baseline="0" noProof="0" dirty="0">
              <a:ln>
                <a:noFill/>
              </a:ln>
              <a:effectLst/>
              <a:uLnTx/>
              <a:uFillTx/>
            </a:endParaRPr>
          </a:p>
          <a:p>
            <a:pPr lvl="2">
              <a:lnSpc>
                <a:spcPct val="90000"/>
              </a:lnSpc>
            </a:pPr>
            <a:r>
              <a:rPr lang="en-US" sz="1100" dirty="0"/>
              <a:t>Why </a:t>
            </a:r>
            <a:r>
              <a:rPr lang="en-US" sz="1100" dirty="0" err="1"/>
              <a:t>agri</a:t>
            </a:r>
            <a:r>
              <a:rPr lang="en-US" sz="1100" dirty="0"/>
              <a:t>-PV?</a:t>
            </a:r>
          </a:p>
          <a:p>
            <a:pPr lvl="3">
              <a:lnSpc>
                <a:spcPct val="90000"/>
              </a:lnSpc>
            </a:pPr>
            <a:r>
              <a:rPr lang="en-US" sz="1100" dirty="0"/>
              <a:t>Easier permitting and improved grid access as land use efficiency is increased</a:t>
            </a:r>
          </a:p>
          <a:p>
            <a:pPr lvl="3">
              <a:lnSpc>
                <a:spcPct val="90000"/>
              </a:lnSpc>
            </a:pPr>
            <a:r>
              <a:rPr lang="en-US" sz="1100" dirty="0"/>
              <a:t>Farming participating in energy transition results in increasing and diversifying income of farmers, therefore supporting climate change adaptation</a:t>
            </a:r>
          </a:p>
          <a:p>
            <a:pPr lvl="3">
              <a:lnSpc>
                <a:spcPct val="90000"/>
              </a:lnSpc>
            </a:pPr>
            <a:r>
              <a:rPr lang="en-US" sz="1100" dirty="0"/>
              <a:t>Huge Agri-PV potential in Romania: 66,2 </a:t>
            </a:r>
            <a:r>
              <a:rPr lang="en-US" sz="1100" dirty="0" err="1"/>
              <a:t>GWp</a:t>
            </a:r>
            <a:r>
              <a:rPr lang="en-US" sz="1100" dirty="0"/>
              <a:t> if only 1% of farmland used</a:t>
            </a:r>
            <a:endParaRPr kumimoji="0" lang="en-US" sz="1100" b="0" i="0" u="none" strike="noStrike" kern="1200" cap="none" spc="0" normalizeH="0" baseline="0" noProof="0" dirty="0">
              <a:ln>
                <a:noFill/>
              </a:ln>
              <a:effectLst/>
              <a:uLnTx/>
              <a:uFillTx/>
            </a:endParaRPr>
          </a:p>
          <a:p>
            <a:pPr lvl="3">
              <a:lnSpc>
                <a:spcPct val="90000"/>
              </a:lnSpc>
            </a:pPr>
            <a:endParaRPr kumimoji="0" lang="en-US" sz="1100" b="0" i="0" u="none" strike="noStrike" kern="1200" cap="none" spc="0" normalizeH="0" baseline="0" noProof="0" dirty="0">
              <a:ln>
                <a:noFill/>
              </a:ln>
              <a:effectLst/>
              <a:uLnTx/>
              <a:uFillTx/>
            </a:endParaRPr>
          </a:p>
          <a:p>
            <a:pPr marL="266700" lvl="3" indent="0">
              <a:lnSpc>
                <a:spcPct val="90000"/>
              </a:lnSpc>
              <a:buNone/>
            </a:pPr>
            <a:endParaRPr kumimoji="0" lang="en-US" sz="1100" b="0" i="0" u="none" strike="noStrike" kern="1200" cap="none" spc="0" normalizeH="0" baseline="0" noProof="0" dirty="0">
              <a:ln>
                <a:noFill/>
              </a:ln>
              <a:effectLst/>
              <a:uLnTx/>
              <a:uFillTx/>
            </a:endParaRPr>
          </a:p>
        </p:txBody>
      </p:sp>
      <p:sp>
        <p:nvSpPr>
          <p:cNvPr id="4" name="Slide Number Placeholder 3"/>
          <p:cNvSpPr>
            <a:spLocks noGrp="1"/>
          </p:cNvSpPr>
          <p:nvPr>
            <p:ph type="sldNum" sz="quarter" idx="5"/>
          </p:nvPr>
        </p:nvSpPr>
        <p:spPr/>
        <p:txBody>
          <a:bodyPr/>
          <a:lstStyle/>
          <a:p>
            <a:fld id="{3B140A39-527A-45CF-A911-B921024B92E6}" type="slidenum">
              <a:rPr lang="en-US" smtClean="0"/>
              <a:pPr/>
              <a:t>6</a:t>
            </a:fld>
            <a:endParaRPr lang="en-US"/>
          </a:p>
        </p:txBody>
      </p:sp>
      <p:sp>
        <p:nvSpPr>
          <p:cNvPr id="5" name="Footer Placehold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1288390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pPr marL="266700" lvl="3" indent="0">
              <a:lnSpc>
                <a:spcPct val="90000"/>
              </a:lnSpc>
              <a:buNone/>
            </a:pPr>
            <a:endParaRPr kumimoji="0" lang="en-US" sz="1100" b="0" i="0" u="none" strike="noStrike" kern="1200" cap="none" spc="0" normalizeH="0" baseline="0" noProof="0" dirty="0">
              <a:ln>
                <a:noFill/>
              </a:ln>
              <a:effectLst/>
              <a:uLnTx/>
              <a:uFillTx/>
            </a:endParaRPr>
          </a:p>
        </p:txBody>
      </p:sp>
      <p:sp>
        <p:nvSpPr>
          <p:cNvPr id="4" name="Slide Number Placeholder 3"/>
          <p:cNvSpPr>
            <a:spLocks noGrp="1"/>
          </p:cNvSpPr>
          <p:nvPr>
            <p:ph type="sldNum" sz="quarter" idx="5"/>
          </p:nvPr>
        </p:nvSpPr>
        <p:spPr/>
        <p:txBody>
          <a:bodyPr/>
          <a:lstStyle/>
          <a:p>
            <a:fld id="{3B140A39-527A-45CF-A911-B921024B92E6}" type="slidenum">
              <a:rPr lang="en-US" smtClean="0"/>
              <a:pPr/>
              <a:t>7</a:t>
            </a:fld>
            <a:endParaRPr lang="en-US"/>
          </a:p>
        </p:txBody>
      </p:sp>
      <p:sp>
        <p:nvSpPr>
          <p:cNvPr id="5" name="Footer Placehold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4063014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pPr marL="266700" lvl="3" indent="0">
              <a:lnSpc>
                <a:spcPct val="90000"/>
              </a:lnSpc>
              <a:buNone/>
            </a:pPr>
            <a:endParaRPr kumimoji="0" lang="en-US" sz="1100" b="0" i="0" u="none" strike="noStrike" kern="1200" cap="none" spc="0" normalizeH="0" baseline="0" noProof="0" dirty="0">
              <a:ln>
                <a:noFill/>
              </a:ln>
              <a:effectLst/>
              <a:uLnTx/>
              <a:uFillTx/>
            </a:endParaRPr>
          </a:p>
        </p:txBody>
      </p:sp>
      <p:sp>
        <p:nvSpPr>
          <p:cNvPr id="4" name="Slide Number Placeholder 3"/>
          <p:cNvSpPr>
            <a:spLocks noGrp="1"/>
          </p:cNvSpPr>
          <p:nvPr>
            <p:ph type="sldNum" sz="quarter" idx="5"/>
          </p:nvPr>
        </p:nvSpPr>
        <p:spPr/>
        <p:txBody>
          <a:bodyPr/>
          <a:lstStyle/>
          <a:p>
            <a:fld id="{3B140A39-527A-45CF-A911-B921024B92E6}" type="slidenum">
              <a:rPr lang="en-US" smtClean="0"/>
              <a:pPr/>
              <a:t>8</a:t>
            </a:fld>
            <a:endParaRPr lang="en-US"/>
          </a:p>
        </p:txBody>
      </p:sp>
      <p:sp>
        <p:nvSpPr>
          <p:cNvPr id="5" name="Footer Placehold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3833937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044575"/>
            <a:ext cx="3186112" cy="1792288"/>
          </a:xfrm>
        </p:spPr>
      </p:sp>
      <p:sp>
        <p:nvSpPr>
          <p:cNvPr id="3" name="Notes Placeholder 2"/>
          <p:cNvSpPr>
            <a:spLocks noGrp="1"/>
          </p:cNvSpPr>
          <p:nvPr>
            <p:ph type="body" idx="1"/>
          </p:nvPr>
        </p:nvSpPr>
        <p:spPr/>
        <p:txBody>
          <a:bodyPr/>
          <a:lstStyle/>
          <a:p>
            <a:pPr marL="266700" marR="0" lvl="2" indent="-266700" defTabSz="914400" rtl="0" eaLnBrk="1" fontAlgn="auto" latinLnBrk="0" hangingPunct="1">
              <a:lnSpc>
                <a:spcPct val="90000"/>
              </a:lnSpc>
              <a:spcBef>
                <a:spcPts val="500"/>
              </a:spcBef>
              <a:spcAft>
                <a:spcPts val="300"/>
              </a:spcAft>
              <a:buClr>
                <a:srgbClr val="78B90F"/>
              </a:buClr>
              <a:buSzPct val="90000"/>
              <a:buFont typeface="Wingdings" panose="05000000000000000000" pitchFamily="2" charset="2"/>
              <a:buChar char="n"/>
              <a:tabLst/>
              <a:defRPr/>
            </a:pPr>
            <a:r>
              <a:rPr lang="en-GB" sz="1100" dirty="0"/>
              <a:t>Why semi-mountainous regions for wind projects?</a:t>
            </a:r>
            <a:endParaRPr kumimoji="0" lang="en-GB" sz="1100" b="0" i="0" u="none" strike="noStrike" kern="1200" cap="none" spc="0" normalizeH="0" baseline="0" noProof="0" dirty="0">
              <a:ln>
                <a:noFill/>
              </a:ln>
              <a:effectLst/>
              <a:uLnTx/>
              <a:uFillTx/>
            </a:endParaRPr>
          </a:p>
          <a:p>
            <a:pPr lvl="3">
              <a:lnSpc>
                <a:spcPct val="90000"/>
              </a:lnSpc>
            </a:pPr>
            <a:r>
              <a:rPr lang="en-US" sz="1100" dirty="0"/>
              <a:t>Semi-mountainous regions often consist of remote and less densely populated areas, reducing conflicts with other land uses and community concerns.</a:t>
            </a:r>
          </a:p>
          <a:p>
            <a:pPr lvl="3">
              <a:lnSpc>
                <a:spcPct val="90000"/>
              </a:lnSpc>
            </a:pPr>
            <a:r>
              <a:rPr lang="en-US" sz="1100" dirty="0"/>
              <a:t>The elevation and natural wind channels in semi-mountainous regions can enhance the efficiency and reliability of wind energy generation</a:t>
            </a:r>
          </a:p>
          <a:p>
            <a:pPr lvl="3">
              <a:lnSpc>
                <a:spcPct val="90000"/>
              </a:lnSpc>
            </a:pPr>
            <a:r>
              <a:rPr lang="en-US" sz="1100" dirty="0"/>
              <a:t>These areas typically face less competition for land use compared to flat, urban, or agricultural regions, making them suitable for wind projects</a:t>
            </a:r>
          </a:p>
          <a:p>
            <a:pPr marL="266700" lvl="3" indent="0">
              <a:lnSpc>
                <a:spcPct val="90000"/>
              </a:lnSpc>
              <a:buNone/>
            </a:pPr>
            <a:endParaRPr lang="en-GB" sz="1100" dirty="0"/>
          </a:p>
          <a:p>
            <a:pPr marL="266700" marR="0" lvl="2" indent="-266700" defTabSz="914400" rtl="0" eaLnBrk="1" fontAlgn="auto" latinLnBrk="0" hangingPunct="1">
              <a:lnSpc>
                <a:spcPct val="90000"/>
              </a:lnSpc>
              <a:spcBef>
                <a:spcPts val="500"/>
              </a:spcBef>
              <a:spcAft>
                <a:spcPts val="300"/>
              </a:spcAft>
              <a:buClr>
                <a:srgbClr val="78B90F"/>
              </a:buClr>
              <a:buSzPct val="90000"/>
              <a:buFont typeface="Wingdings" panose="05000000000000000000" pitchFamily="2" charset="2"/>
              <a:buChar char="n"/>
              <a:tabLst/>
              <a:defRPr/>
            </a:pPr>
            <a:r>
              <a:rPr lang="en-GB" sz="1100" dirty="0"/>
              <a:t>Why offshore wind?</a:t>
            </a:r>
            <a:endParaRPr kumimoji="0" lang="en-GB" sz="1100" b="0" i="0" u="none" strike="noStrike" kern="1200" cap="none" spc="0" normalizeH="0" baseline="0" noProof="0" dirty="0">
              <a:ln>
                <a:noFill/>
              </a:ln>
              <a:effectLst/>
              <a:uLnTx/>
              <a:uFillTx/>
            </a:endParaRPr>
          </a:p>
          <a:p>
            <a:pPr lvl="3">
              <a:lnSpc>
                <a:spcPct val="90000"/>
              </a:lnSpc>
            </a:pPr>
            <a:r>
              <a:rPr lang="en-US" sz="1100" dirty="0"/>
              <a:t>Offshore wind power is forecast to become the largest source of electricity in the EU by 2040</a:t>
            </a:r>
          </a:p>
          <a:p>
            <a:pPr lvl="3">
              <a:lnSpc>
                <a:spcPct val="90000"/>
              </a:lnSpc>
            </a:pPr>
            <a:r>
              <a:rPr lang="en-US" sz="1100" dirty="0"/>
              <a:t>Offshore sites often allow for larger-scale projects, accommodating more turbines, and also generating more energy due to stronger and more consistent wind speeds, therefore accelerating the development of large-scale renewable energy projects</a:t>
            </a:r>
          </a:p>
          <a:p>
            <a:pPr marL="450850" marR="0" lvl="3" indent="-1841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lang="en-US" sz="1100" dirty="0"/>
              <a:t>Helps preserve valuable land resources for other uses, such as agriculture or urban development</a:t>
            </a:r>
            <a:endParaRPr lang="en-GB" sz="1100" dirty="0"/>
          </a:p>
        </p:txBody>
      </p:sp>
      <p:sp>
        <p:nvSpPr>
          <p:cNvPr id="4" name="Slide Number Placeholder 3"/>
          <p:cNvSpPr>
            <a:spLocks noGrp="1"/>
          </p:cNvSpPr>
          <p:nvPr>
            <p:ph type="sldNum" sz="quarter" idx="5"/>
          </p:nvPr>
        </p:nvSpPr>
        <p:spPr/>
        <p:txBody>
          <a:bodyPr/>
          <a:lstStyle/>
          <a:p>
            <a:fld id="{3B140A39-527A-45CF-A911-B921024B92E6}" type="slidenum">
              <a:rPr lang="en-US" smtClean="0"/>
              <a:pPr/>
              <a:t>13</a:t>
            </a:fld>
            <a:endParaRPr lang="en-US"/>
          </a:p>
        </p:txBody>
      </p:sp>
      <p:sp>
        <p:nvSpPr>
          <p:cNvPr id="5" name="Footer Placeholder 4"/>
          <p:cNvSpPr>
            <a:spLocks noGrp="1"/>
          </p:cNvSpPr>
          <p:nvPr>
            <p:ph type="ftr" sz="quarter" idx="4"/>
          </p:nvPr>
        </p:nvSpPr>
        <p:spPr/>
        <p:txBody>
          <a:bodyPr/>
          <a:lstStyle/>
          <a:p>
            <a:r>
              <a:rPr lang="en-US"/>
              <a:t>BayWa r.e. Master 2021</a:t>
            </a:r>
          </a:p>
        </p:txBody>
      </p:sp>
    </p:spTree>
    <p:extLst>
      <p:ext uri="{BB962C8B-B14F-4D97-AF65-F5344CB8AC3E}">
        <p14:creationId xmlns:p14="http://schemas.microsoft.com/office/powerpoint/2010/main" val="12867054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hort title + 1/2 picture">
    <p:bg>
      <p:bgPr>
        <a:solidFill>
          <a:schemeClr val="bg1"/>
        </a:solidFill>
        <a:effectLst/>
      </p:bgPr>
    </p:bg>
    <p:spTree>
      <p:nvGrpSpPr>
        <p:cNvPr id="1" name=""/>
        <p:cNvGrpSpPr/>
        <p:nvPr/>
      </p:nvGrpSpPr>
      <p:grpSpPr>
        <a:xfrm>
          <a:off x="0" y="0"/>
          <a:ext cx="0" cy="0"/>
          <a:chOff x="0" y="0"/>
          <a:chExt cx="0" cy="0"/>
        </a:xfrm>
      </p:grpSpPr>
      <p:sp>
        <p:nvSpPr>
          <p:cNvPr id="27" name="Bildplatzhalter 26">
            <a:extLst>
              <a:ext uri="{FF2B5EF4-FFF2-40B4-BE49-F238E27FC236}">
                <a16:creationId xmlns:a16="http://schemas.microsoft.com/office/drawing/2014/main" id="{1E773914-63E0-4980-BEEC-5E303EB378EC}"/>
              </a:ext>
            </a:extLst>
          </p:cNvPr>
          <p:cNvSpPr>
            <a:spLocks noGrp="1"/>
          </p:cNvSpPr>
          <p:nvPr userDrawn="1">
            <p:ph type="pic" sz="quarter" idx="10" hasCustomPrompt="1"/>
          </p:nvPr>
        </p:nvSpPr>
        <p:spPr bwMode="gray">
          <a:xfrm>
            <a:off x="5663503" y="1635324"/>
            <a:ext cx="6528497" cy="5229225"/>
          </a:xfrm>
          <a:solidFill>
            <a:schemeClr val="bg2"/>
          </a:solidFill>
        </p:spPr>
        <p:txBody>
          <a:bodyPr tIns="2916000"/>
          <a:lstStyle>
            <a:lvl1pPr marL="0" indent="0" algn="ctr">
              <a:lnSpc>
                <a:spcPct val="100000"/>
              </a:lnSpc>
              <a:spcBef>
                <a:spcPts val="0"/>
              </a:spcBef>
              <a:spcAft>
                <a:spcPts val="0"/>
              </a:spcAft>
              <a:buFont typeface="Arial" panose="020B0604020202020204" pitchFamily="34" charset="0"/>
              <a:buNone/>
              <a:defRPr sz="800" b="0">
                <a:solidFill>
                  <a:schemeClr val="accent6"/>
                </a:solidFill>
              </a:defRPr>
            </a:lvl1pPr>
            <a:lvl2pPr marL="0" indent="0" algn="ctr">
              <a:lnSpc>
                <a:spcPct val="100000"/>
              </a:lnSpc>
              <a:spcBef>
                <a:spcPts val="0"/>
              </a:spcBef>
              <a:spcAft>
                <a:spcPts val="0"/>
              </a:spcAft>
              <a:buFont typeface="Arial" panose="020B0604020202020204" pitchFamily="34" charset="0"/>
              <a:buNone/>
              <a:defRPr sz="800" b="0">
                <a:solidFill>
                  <a:schemeClr val="accent6"/>
                </a:solidFill>
              </a:defRPr>
            </a:lvl2pPr>
            <a:lvl3pPr marL="0" indent="0" algn="ctr">
              <a:lnSpc>
                <a:spcPct val="100000"/>
              </a:lnSpc>
              <a:spcBef>
                <a:spcPts val="0"/>
              </a:spcBef>
              <a:spcAft>
                <a:spcPts val="0"/>
              </a:spcAft>
              <a:buNone/>
              <a:defRPr sz="800" b="0">
                <a:solidFill>
                  <a:schemeClr val="accent6"/>
                </a:solidFill>
              </a:defRPr>
            </a:lvl3pPr>
            <a:lvl4pPr marL="0" indent="0" algn="ctr">
              <a:lnSpc>
                <a:spcPct val="100000"/>
              </a:lnSpc>
              <a:spcBef>
                <a:spcPts val="0"/>
              </a:spcBef>
              <a:spcAft>
                <a:spcPts val="0"/>
              </a:spcAft>
              <a:buNone/>
              <a:defRPr sz="800" b="0">
                <a:solidFill>
                  <a:schemeClr val="accent6"/>
                </a:solidFill>
              </a:defRPr>
            </a:lvl4pPr>
            <a:lvl5pPr marL="0" indent="0" algn="ctr">
              <a:lnSpc>
                <a:spcPct val="100000"/>
              </a:lnSpc>
              <a:spcBef>
                <a:spcPts val="0"/>
              </a:spcBef>
              <a:spcAft>
                <a:spcPts val="0"/>
              </a:spcAft>
              <a:buNone/>
              <a:defRPr sz="800" b="0">
                <a:solidFill>
                  <a:schemeClr val="accent6"/>
                </a:solidFill>
              </a:defRPr>
            </a:lvl5pPr>
            <a:lvl6pPr marL="0" indent="0" algn="ctr">
              <a:lnSpc>
                <a:spcPct val="100000"/>
              </a:lnSpc>
              <a:spcBef>
                <a:spcPts val="0"/>
              </a:spcBef>
              <a:spcAft>
                <a:spcPts val="0"/>
              </a:spcAft>
              <a:buNone/>
              <a:defRPr sz="800" b="0">
                <a:solidFill>
                  <a:schemeClr val="accent6"/>
                </a:solidFill>
              </a:defRPr>
            </a:lvl6pPr>
            <a:lvl7pPr marL="0" indent="0" algn="ctr">
              <a:lnSpc>
                <a:spcPct val="100000"/>
              </a:lnSpc>
              <a:spcBef>
                <a:spcPts val="0"/>
              </a:spcBef>
              <a:spcAft>
                <a:spcPts val="0"/>
              </a:spcAft>
              <a:buNone/>
              <a:defRPr sz="800" b="0">
                <a:solidFill>
                  <a:schemeClr val="accent6"/>
                </a:solidFill>
              </a:defRPr>
            </a:lvl7pPr>
            <a:lvl8pPr marL="0" indent="0" algn="ctr">
              <a:lnSpc>
                <a:spcPct val="100000"/>
              </a:lnSpc>
              <a:spcBef>
                <a:spcPts val="0"/>
              </a:spcBef>
              <a:spcAft>
                <a:spcPts val="0"/>
              </a:spcAft>
              <a:buNone/>
              <a:defRPr sz="800" b="0">
                <a:solidFill>
                  <a:schemeClr val="accent6"/>
                </a:solidFill>
              </a:defRPr>
            </a:lvl8pPr>
            <a:lvl9pPr marL="0" indent="0" algn="ctr">
              <a:lnSpc>
                <a:spcPct val="100000"/>
              </a:lnSpc>
              <a:spcBef>
                <a:spcPts val="0"/>
              </a:spcBef>
              <a:spcAft>
                <a:spcPts val="0"/>
              </a:spcAft>
              <a:buNone/>
              <a:defRPr sz="800" b="0">
                <a:solidFill>
                  <a:schemeClr val="accent6"/>
                </a:solidFill>
              </a:defRPr>
            </a:lvl9pPr>
          </a:lstStyle>
          <a:p>
            <a:pPr lvl="0"/>
            <a:r>
              <a:rPr lang="en-US" noProof="0"/>
              <a:t>Optional: To add a picture click the icon</a:t>
            </a:r>
          </a:p>
        </p:txBody>
      </p:sp>
      <p:pic>
        <p:nvPicPr>
          <p:cNvPr id="26" name="Grafik 25">
            <a:extLst>
              <a:ext uri="{FF2B5EF4-FFF2-40B4-BE49-F238E27FC236}">
                <a16:creationId xmlns:a16="http://schemas.microsoft.com/office/drawing/2014/main" id="{E0B03A5E-A2CC-4265-8332-73E407B5266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gray">
          <a:xfrm>
            <a:off x="413519" y="404664"/>
            <a:ext cx="2016000" cy="484994"/>
          </a:xfrm>
          <a:prstGeom prst="rect">
            <a:avLst/>
          </a:prstGeom>
        </p:spPr>
      </p:pic>
      <p:sp>
        <p:nvSpPr>
          <p:cNvPr id="28" name="Textplatzhalter 4">
            <a:extLst>
              <a:ext uri="{FF2B5EF4-FFF2-40B4-BE49-F238E27FC236}">
                <a16:creationId xmlns:a16="http://schemas.microsoft.com/office/drawing/2014/main" id="{2C9BFDF0-7E68-4DA1-8F12-0C7958C61757}"/>
              </a:ext>
            </a:extLst>
          </p:cNvPr>
          <p:cNvSpPr>
            <a:spLocks noGrp="1"/>
          </p:cNvSpPr>
          <p:nvPr>
            <p:ph type="body" sz="quarter" idx="17" hasCustomPrompt="1"/>
          </p:nvPr>
        </p:nvSpPr>
        <p:spPr bwMode="gray">
          <a:xfrm>
            <a:off x="0" y="1635324"/>
            <a:ext cx="8688388" cy="5230800"/>
          </a:xfrm>
          <a:solidFill>
            <a:schemeClr val="accent1">
              <a:alpha val="14000"/>
            </a:schemeClr>
          </a:solidFill>
        </p:spPr>
        <p:txBody>
          <a:bodyPr/>
          <a:lstStyle>
            <a:lvl1pPr>
              <a:lnSpc>
                <a:spcPct val="100000"/>
              </a:lnSpc>
              <a:defRPr/>
            </a:lvl1pPr>
          </a:lstStyle>
          <a:p>
            <a:pPr lvl="0"/>
            <a:r>
              <a:rPr lang="en-US"/>
              <a:t> </a:t>
            </a:r>
          </a:p>
        </p:txBody>
      </p:sp>
      <p:sp>
        <p:nvSpPr>
          <p:cNvPr id="34" name="Textplatzhalter 33">
            <a:extLst>
              <a:ext uri="{FF2B5EF4-FFF2-40B4-BE49-F238E27FC236}">
                <a16:creationId xmlns:a16="http://schemas.microsoft.com/office/drawing/2014/main" id="{4B813ABD-0FAA-4B9F-BDA0-D7949E9CB507}"/>
              </a:ext>
            </a:extLst>
          </p:cNvPr>
          <p:cNvSpPr>
            <a:spLocks noGrp="1"/>
          </p:cNvSpPr>
          <p:nvPr>
            <p:ph type="body" sz="quarter" idx="18" hasCustomPrompt="1"/>
          </p:nvPr>
        </p:nvSpPr>
        <p:spPr bwMode="gray">
          <a:xfrm>
            <a:off x="0" y="1635324"/>
            <a:ext cx="8688288" cy="5230800"/>
          </a:xfrm>
          <a:custGeom>
            <a:avLst/>
            <a:gdLst>
              <a:gd name="connsiteX0" fmla="*/ 0 w 8688388"/>
              <a:gd name="connsiteY0" fmla="*/ 0 h 6843712"/>
              <a:gd name="connsiteX1" fmla="*/ 8688388 w 8688388"/>
              <a:gd name="connsiteY1" fmla="*/ 0 h 6843712"/>
              <a:gd name="connsiteX2" fmla="*/ 8688388 w 8688388"/>
              <a:gd name="connsiteY2" fmla="*/ 6502988 h 6843712"/>
              <a:gd name="connsiteX3" fmla="*/ 8489074 w 8688388"/>
              <a:gd name="connsiteY3" fmla="*/ 6843712 h 6843712"/>
              <a:gd name="connsiteX4" fmla="*/ 0 w 8688388"/>
              <a:gd name="connsiteY4" fmla="*/ 6843712 h 6843712"/>
              <a:gd name="connsiteX0" fmla="*/ 0 w 8688388"/>
              <a:gd name="connsiteY0" fmla="*/ 0 h 6843712"/>
              <a:gd name="connsiteX1" fmla="*/ 8688388 w 8688388"/>
              <a:gd name="connsiteY1" fmla="*/ 0 h 6843712"/>
              <a:gd name="connsiteX2" fmla="*/ 8489074 w 8688388"/>
              <a:gd name="connsiteY2" fmla="*/ 6843712 h 6843712"/>
              <a:gd name="connsiteX3" fmla="*/ 0 w 8688388"/>
              <a:gd name="connsiteY3" fmla="*/ 6843712 h 6843712"/>
              <a:gd name="connsiteX4" fmla="*/ 0 w 8688388"/>
              <a:gd name="connsiteY4" fmla="*/ 0 h 6843712"/>
              <a:gd name="connsiteX0" fmla="*/ 0 w 8688388"/>
              <a:gd name="connsiteY0" fmla="*/ 0 h 6843712"/>
              <a:gd name="connsiteX1" fmla="*/ 8688388 w 8688388"/>
              <a:gd name="connsiteY1" fmla="*/ 0 h 6843712"/>
              <a:gd name="connsiteX2" fmla="*/ 8261968 w 8688388"/>
              <a:gd name="connsiteY2" fmla="*/ 6843712 h 6843712"/>
              <a:gd name="connsiteX3" fmla="*/ 0 w 8688388"/>
              <a:gd name="connsiteY3" fmla="*/ 6843712 h 6843712"/>
              <a:gd name="connsiteX4" fmla="*/ 0 w 8688388"/>
              <a:gd name="connsiteY4" fmla="*/ 0 h 6843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8388" h="6843712">
                <a:moveTo>
                  <a:pt x="0" y="0"/>
                </a:moveTo>
                <a:lnTo>
                  <a:pt x="8688388" y="0"/>
                </a:lnTo>
                <a:lnTo>
                  <a:pt x="8261968" y="6843712"/>
                </a:lnTo>
                <a:lnTo>
                  <a:pt x="0" y="6843712"/>
                </a:lnTo>
                <a:lnTo>
                  <a:pt x="0" y="0"/>
                </a:lnTo>
                <a:close/>
              </a:path>
            </a:pathLst>
          </a:custGeom>
          <a:solidFill>
            <a:schemeClr val="accent1">
              <a:alpha val="29000"/>
            </a:schemeClr>
          </a:solidFill>
        </p:spPr>
        <p:txBody>
          <a:bodyPr wrap="square">
            <a:noAutofit/>
          </a:bodyPr>
          <a:lstStyle>
            <a:lvl1pPr>
              <a:lnSpc>
                <a:spcPct val="100000"/>
              </a:lnSpc>
              <a:defRPr/>
            </a:lvl1pPr>
          </a:lstStyle>
          <a:p>
            <a:pPr lvl="0"/>
            <a:r>
              <a:rPr lang="en-US"/>
              <a:t> </a:t>
            </a:r>
          </a:p>
        </p:txBody>
      </p:sp>
      <p:sp>
        <p:nvSpPr>
          <p:cNvPr id="35" name="Textplatzhalter 4">
            <a:extLst>
              <a:ext uri="{FF2B5EF4-FFF2-40B4-BE49-F238E27FC236}">
                <a16:creationId xmlns:a16="http://schemas.microsoft.com/office/drawing/2014/main" id="{AE401327-002F-4F0C-811B-9EFAEABAAFD8}"/>
              </a:ext>
            </a:extLst>
          </p:cNvPr>
          <p:cNvSpPr>
            <a:spLocks noGrp="1"/>
          </p:cNvSpPr>
          <p:nvPr>
            <p:ph type="body" sz="quarter" idx="19" hasCustomPrompt="1"/>
          </p:nvPr>
        </p:nvSpPr>
        <p:spPr bwMode="gray">
          <a:xfrm>
            <a:off x="0" y="1635324"/>
            <a:ext cx="8256588" cy="5230800"/>
          </a:xfrm>
          <a:solidFill>
            <a:schemeClr val="accent1">
              <a:alpha val="43000"/>
            </a:schemeClr>
          </a:solidFill>
        </p:spPr>
        <p:txBody>
          <a:bodyPr/>
          <a:lstStyle>
            <a:lvl1pPr>
              <a:lnSpc>
                <a:spcPct val="100000"/>
              </a:lnSpc>
              <a:defRPr/>
            </a:lvl1pPr>
          </a:lstStyle>
          <a:p>
            <a:pPr lvl="0"/>
            <a:r>
              <a:rPr lang="en-US"/>
              <a:t> </a:t>
            </a:r>
          </a:p>
        </p:txBody>
      </p:sp>
      <p:sp>
        <p:nvSpPr>
          <p:cNvPr id="36" name="Textplatzhalter 35">
            <a:extLst>
              <a:ext uri="{FF2B5EF4-FFF2-40B4-BE49-F238E27FC236}">
                <a16:creationId xmlns:a16="http://schemas.microsoft.com/office/drawing/2014/main" id="{3800347A-B6C1-4875-A07F-8FCDBA3CFEE4}"/>
              </a:ext>
            </a:extLst>
          </p:cNvPr>
          <p:cNvSpPr>
            <a:spLocks noGrp="1"/>
          </p:cNvSpPr>
          <p:nvPr>
            <p:ph type="body" sz="quarter" idx="20" hasCustomPrompt="1"/>
          </p:nvPr>
        </p:nvSpPr>
        <p:spPr bwMode="gray">
          <a:xfrm>
            <a:off x="0" y="1635324"/>
            <a:ext cx="8262938" cy="5230800"/>
          </a:xfrm>
          <a:custGeom>
            <a:avLst/>
            <a:gdLst>
              <a:gd name="connsiteX0" fmla="*/ 0 w 8688388"/>
              <a:gd name="connsiteY0" fmla="*/ 0 h 6843712"/>
              <a:gd name="connsiteX1" fmla="*/ 8688388 w 8688388"/>
              <a:gd name="connsiteY1" fmla="*/ 0 h 6843712"/>
              <a:gd name="connsiteX2" fmla="*/ 8688388 w 8688388"/>
              <a:gd name="connsiteY2" fmla="*/ 6502988 h 6843712"/>
              <a:gd name="connsiteX3" fmla="*/ 8489074 w 8688388"/>
              <a:gd name="connsiteY3" fmla="*/ 6843712 h 6843712"/>
              <a:gd name="connsiteX4" fmla="*/ 0 w 8688388"/>
              <a:gd name="connsiteY4" fmla="*/ 6843712 h 6843712"/>
              <a:gd name="connsiteX0" fmla="*/ 0 w 8688388"/>
              <a:gd name="connsiteY0" fmla="*/ 0 h 6843712"/>
              <a:gd name="connsiteX1" fmla="*/ 8688388 w 8688388"/>
              <a:gd name="connsiteY1" fmla="*/ 0 h 6843712"/>
              <a:gd name="connsiteX2" fmla="*/ 8489074 w 8688388"/>
              <a:gd name="connsiteY2" fmla="*/ 6843712 h 6843712"/>
              <a:gd name="connsiteX3" fmla="*/ 0 w 8688388"/>
              <a:gd name="connsiteY3" fmla="*/ 6843712 h 6843712"/>
              <a:gd name="connsiteX4" fmla="*/ 0 w 8688388"/>
              <a:gd name="connsiteY4" fmla="*/ 0 h 6843712"/>
              <a:gd name="connsiteX0" fmla="*/ 0 w 8688388"/>
              <a:gd name="connsiteY0" fmla="*/ 0 h 6843712"/>
              <a:gd name="connsiteX1" fmla="*/ 8688388 w 8688388"/>
              <a:gd name="connsiteY1" fmla="*/ 0 h 6843712"/>
              <a:gd name="connsiteX2" fmla="*/ 8261968 w 8688388"/>
              <a:gd name="connsiteY2" fmla="*/ 6843712 h 6843712"/>
              <a:gd name="connsiteX3" fmla="*/ 0 w 8688388"/>
              <a:gd name="connsiteY3" fmla="*/ 6843712 h 6843712"/>
              <a:gd name="connsiteX4" fmla="*/ 0 w 8688388"/>
              <a:gd name="connsiteY4" fmla="*/ 0 h 6843712"/>
              <a:gd name="connsiteX0" fmla="*/ 0 w 8262938"/>
              <a:gd name="connsiteY0" fmla="*/ 6323 h 6850035"/>
              <a:gd name="connsiteX1" fmla="*/ 8262938 w 8262938"/>
              <a:gd name="connsiteY1" fmla="*/ 0 h 6850035"/>
              <a:gd name="connsiteX2" fmla="*/ 826196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2938" h="6850035">
                <a:moveTo>
                  <a:pt x="0" y="6323"/>
                </a:moveTo>
                <a:lnTo>
                  <a:pt x="8262938" y="0"/>
                </a:lnTo>
                <a:cubicBezTo>
                  <a:pt x="8040365" y="1606732"/>
                  <a:pt x="7608241" y="4851248"/>
                  <a:pt x="7392018" y="6850035"/>
                </a:cubicBezTo>
                <a:lnTo>
                  <a:pt x="0" y="6850035"/>
                </a:lnTo>
                <a:lnTo>
                  <a:pt x="0" y="6323"/>
                </a:lnTo>
                <a:close/>
              </a:path>
            </a:pathLst>
          </a:custGeom>
          <a:solidFill>
            <a:schemeClr val="accent1">
              <a:alpha val="71000"/>
            </a:schemeClr>
          </a:solidFill>
        </p:spPr>
        <p:txBody>
          <a:bodyPr wrap="square">
            <a:noAutofit/>
          </a:bodyPr>
          <a:lstStyle>
            <a:lvl1pPr>
              <a:lnSpc>
                <a:spcPct val="100000"/>
              </a:lnSpc>
              <a:defRPr/>
            </a:lvl1pPr>
          </a:lstStyle>
          <a:p>
            <a:pPr lvl="0"/>
            <a:r>
              <a:rPr lang="en-US"/>
              <a:t> </a:t>
            </a:r>
          </a:p>
        </p:txBody>
      </p:sp>
      <p:sp>
        <p:nvSpPr>
          <p:cNvPr id="37" name="Textplatzhalter 4">
            <a:extLst>
              <a:ext uri="{FF2B5EF4-FFF2-40B4-BE49-F238E27FC236}">
                <a16:creationId xmlns:a16="http://schemas.microsoft.com/office/drawing/2014/main" id="{4FC925E7-5885-4560-8FF6-7CB6741C80E7}"/>
              </a:ext>
            </a:extLst>
          </p:cNvPr>
          <p:cNvSpPr>
            <a:spLocks noGrp="1"/>
          </p:cNvSpPr>
          <p:nvPr>
            <p:ph type="body" sz="quarter" idx="21" hasCustomPrompt="1"/>
          </p:nvPr>
        </p:nvSpPr>
        <p:spPr bwMode="gray">
          <a:xfrm>
            <a:off x="0" y="1635324"/>
            <a:ext cx="7391400" cy="5230800"/>
          </a:xfrm>
          <a:solidFill>
            <a:schemeClr val="accent1">
              <a:alpha val="37000"/>
            </a:schemeClr>
          </a:solidFill>
        </p:spPr>
        <p:txBody>
          <a:bodyPr/>
          <a:lstStyle>
            <a:lvl1pPr>
              <a:lnSpc>
                <a:spcPct val="100000"/>
              </a:lnSpc>
              <a:defRPr/>
            </a:lvl1pPr>
          </a:lstStyle>
          <a:p>
            <a:pPr lvl="0"/>
            <a:r>
              <a:rPr lang="en-US"/>
              <a:t> </a:t>
            </a:r>
          </a:p>
        </p:txBody>
      </p:sp>
      <p:sp>
        <p:nvSpPr>
          <p:cNvPr id="38" name="Textplatzhalter 37">
            <a:extLst>
              <a:ext uri="{FF2B5EF4-FFF2-40B4-BE49-F238E27FC236}">
                <a16:creationId xmlns:a16="http://schemas.microsoft.com/office/drawing/2014/main" id="{1DC07434-1A02-4D63-AFB2-B68A9D1CC486}"/>
              </a:ext>
            </a:extLst>
          </p:cNvPr>
          <p:cNvSpPr>
            <a:spLocks noGrp="1"/>
          </p:cNvSpPr>
          <p:nvPr>
            <p:ph type="body" sz="quarter" idx="22" hasCustomPrompt="1"/>
          </p:nvPr>
        </p:nvSpPr>
        <p:spPr bwMode="gray">
          <a:xfrm>
            <a:off x="1" y="1635324"/>
            <a:ext cx="7384446" cy="5230800"/>
          </a:xfrm>
          <a:custGeom>
            <a:avLst/>
            <a:gdLst>
              <a:gd name="connsiteX0" fmla="*/ 0 w 8688388"/>
              <a:gd name="connsiteY0" fmla="*/ 0 h 6843712"/>
              <a:gd name="connsiteX1" fmla="*/ 8688388 w 8688388"/>
              <a:gd name="connsiteY1" fmla="*/ 0 h 6843712"/>
              <a:gd name="connsiteX2" fmla="*/ 8688388 w 8688388"/>
              <a:gd name="connsiteY2" fmla="*/ 6502988 h 6843712"/>
              <a:gd name="connsiteX3" fmla="*/ 8489074 w 8688388"/>
              <a:gd name="connsiteY3" fmla="*/ 6843712 h 6843712"/>
              <a:gd name="connsiteX4" fmla="*/ 0 w 8688388"/>
              <a:gd name="connsiteY4" fmla="*/ 6843712 h 6843712"/>
              <a:gd name="connsiteX0" fmla="*/ 0 w 8688388"/>
              <a:gd name="connsiteY0" fmla="*/ 0 h 6843712"/>
              <a:gd name="connsiteX1" fmla="*/ 8688388 w 8688388"/>
              <a:gd name="connsiteY1" fmla="*/ 0 h 6843712"/>
              <a:gd name="connsiteX2" fmla="*/ 8489074 w 8688388"/>
              <a:gd name="connsiteY2" fmla="*/ 6843712 h 6843712"/>
              <a:gd name="connsiteX3" fmla="*/ 0 w 8688388"/>
              <a:gd name="connsiteY3" fmla="*/ 6843712 h 6843712"/>
              <a:gd name="connsiteX4" fmla="*/ 0 w 8688388"/>
              <a:gd name="connsiteY4" fmla="*/ 0 h 6843712"/>
              <a:gd name="connsiteX0" fmla="*/ 0 w 8688388"/>
              <a:gd name="connsiteY0" fmla="*/ 0 h 6843712"/>
              <a:gd name="connsiteX1" fmla="*/ 8688388 w 8688388"/>
              <a:gd name="connsiteY1" fmla="*/ 0 h 6843712"/>
              <a:gd name="connsiteX2" fmla="*/ 8261968 w 8688388"/>
              <a:gd name="connsiteY2" fmla="*/ 6843712 h 6843712"/>
              <a:gd name="connsiteX3" fmla="*/ 0 w 8688388"/>
              <a:gd name="connsiteY3" fmla="*/ 6843712 h 6843712"/>
              <a:gd name="connsiteX4" fmla="*/ 0 w 8688388"/>
              <a:gd name="connsiteY4" fmla="*/ 0 h 6843712"/>
              <a:gd name="connsiteX0" fmla="*/ 0 w 8262938"/>
              <a:gd name="connsiteY0" fmla="*/ 6323 h 6850035"/>
              <a:gd name="connsiteX1" fmla="*/ 8262938 w 8262938"/>
              <a:gd name="connsiteY1" fmla="*/ 0 h 6850035"/>
              <a:gd name="connsiteX2" fmla="*/ 826196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7452925"/>
              <a:gd name="connsiteY0" fmla="*/ 6323 h 6850035"/>
              <a:gd name="connsiteX1" fmla="*/ 7384397 w 7452925"/>
              <a:gd name="connsiteY1" fmla="*/ 0 h 6850035"/>
              <a:gd name="connsiteX2" fmla="*/ 7392018 w 7452925"/>
              <a:gd name="connsiteY2" fmla="*/ 6850035 h 6850035"/>
              <a:gd name="connsiteX3" fmla="*/ 0 w 7452925"/>
              <a:gd name="connsiteY3" fmla="*/ 6850035 h 6850035"/>
              <a:gd name="connsiteX4" fmla="*/ 0 w 7452925"/>
              <a:gd name="connsiteY4" fmla="*/ 6323 h 6850035"/>
              <a:gd name="connsiteX0" fmla="*/ 0 w 7384397"/>
              <a:gd name="connsiteY0" fmla="*/ 6323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6323 h 6856831"/>
              <a:gd name="connsiteX0" fmla="*/ 0 w 7384397"/>
              <a:gd name="connsiteY0" fmla="*/ 6323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6323 h 6856831"/>
              <a:gd name="connsiteX0" fmla="*/ 0 w 7384397"/>
              <a:gd name="connsiteY0" fmla="*/ 6323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6323 h 6856831"/>
              <a:gd name="connsiteX0" fmla="*/ 0 w 7384397"/>
              <a:gd name="connsiteY0" fmla="*/ 80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80 h 6856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4397" h="6856831">
                <a:moveTo>
                  <a:pt x="0" y="80"/>
                </a:moveTo>
                <a:lnTo>
                  <a:pt x="7384397" y="0"/>
                </a:lnTo>
                <a:cubicBezTo>
                  <a:pt x="7114199" y="1018647"/>
                  <a:pt x="6213753" y="4829589"/>
                  <a:pt x="5645105" y="6856831"/>
                </a:cubicBezTo>
                <a:lnTo>
                  <a:pt x="0" y="6850035"/>
                </a:lnTo>
                <a:lnTo>
                  <a:pt x="0" y="80"/>
                </a:lnTo>
                <a:close/>
              </a:path>
            </a:pathLst>
          </a:custGeom>
          <a:solidFill>
            <a:schemeClr val="accent1">
              <a:alpha val="86000"/>
            </a:schemeClr>
          </a:solidFill>
        </p:spPr>
        <p:txBody>
          <a:bodyPr wrap="square">
            <a:noAutofit/>
          </a:bodyPr>
          <a:lstStyle>
            <a:lvl1pPr>
              <a:lnSpc>
                <a:spcPct val="100000"/>
              </a:lnSpc>
              <a:defRPr/>
            </a:lvl1pPr>
          </a:lstStyle>
          <a:p>
            <a:pPr lvl="0"/>
            <a:r>
              <a:rPr lang="en-US"/>
              <a:t> </a:t>
            </a:r>
          </a:p>
        </p:txBody>
      </p:sp>
      <p:sp>
        <p:nvSpPr>
          <p:cNvPr id="39" name="Titel 1">
            <a:extLst>
              <a:ext uri="{FF2B5EF4-FFF2-40B4-BE49-F238E27FC236}">
                <a16:creationId xmlns:a16="http://schemas.microsoft.com/office/drawing/2014/main" id="{412F5A90-43FA-492A-AEAB-264129C33F54}"/>
              </a:ext>
            </a:extLst>
          </p:cNvPr>
          <p:cNvSpPr>
            <a:spLocks noGrp="1"/>
          </p:cNvSpPr>
          <p:nvPr>
            <p:ph type="ctrTitle" hasCustomPrompt="1"/>
          </p:nvPr>
        </p:nvSpPr>
        <p:spPr bwMode="gray">
          <a:xfrm>
            <a:off x="0" y="1635324"/>
            <a:ext cx="5663503" cy="5230800"/>
          </a:xfrm>
          <a:solidFill>
            <a:schemeClr val="accent1"/>
          </a:solidFill>
        </p:spPr>
        <p:txBody>
          <a:bodyPr lIns="396000" tIns="1440000" rIns="396000" bIns="1440000" anchor="b"/>
          <a:lstStyle>
            <a:lvl1pPr algn="l">
              <a:lnSpc>
                <a:spcPct val="100000"/>
              </a:lnSpc>
              <a:defRPr sz="4800">
                <a:solidFill>
                  <a:schemeClr val="bg1"/>
                </a:solidFill>
              </a:defRPr>
            </a:lvl1pPr>
          </a:lstStyle>
          <a:p>
            <a:r>
              <a:rPr lang="en-US" noProof="0"/>
              <a:t>Max. triple-spaced title</a:t>
            </a:r>
          </a:p>
        </p:txBody>
      </p:sp>
      <p:pic>
        <p:nvPicPr>
          <p:cNvPr id="2" name="Grafik 1">
            <a:extLst>
              <a:ext uri="{FF2B5EF4-FFF2-40B4-BE49-F238E27FC236}">
                <a16:creationId xmlns:a16="http://schemas.microsoft.com/office/drawing/2014/main" id="{C71E7EE0-4D83-4B84-8E59-98B80684F7E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435542" y="627831"/>
            <a:ext cx="1349090" cy="180000"/>
          </a:xfrm>
          <a:prstGeom prst="rect">
            <a:avLst/>
          </a:prstGeom>
        </p:spPr>
      </p:pic>
    </p:spTree>
    <p:extLst>
      <p:ext uri="{BB962C8B-B14F-4D97-AF65-F5344CB8AC3E}">
        <p14:creationId xmlns:p14="http://schemas.microsoft.com/office/powerpoint/2010/main" val="275293835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45000">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14:bounceEnd="45000">
                                          <p:cBhvr additive="base">
                                            <p:cTn id="7" dur="2000" fill="hold"/>
                                            <p:tgtEl>
                                              <p:spTgt spid="39"/>
                                            </p:tgtEl>
                                            <p:attrNameLst>
                                              <p:attrName>ppt_x</p:attrName>
                                            </p:attrNameLst>
                                          </p:cBhvr>
                                          <p:tavLst>
                                            <p:tav tm="0">
                                              <p:val>
                                                <p:strVal val="0-#ppt_w/2"/>
                                              </p:val>
                                            </p:tav>
                                            <p:tav tm="100000">
                                              <p:val>
                                                <p:strVal val="#ppt_x"/>
                                              </p:val>
                                            </p:tav>
                                          </p:tavLst>
                                        </p:anim>
                                        <p:anim calcmode="lin" valueType="num" p14:bounceEnd="45000">
                                          <p:cBhvr additive="base">
                                            <p:cTn id="8" dur="20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45000">
                                      <p:stCondLst>
                                        <p:cond delay="0"/>
                                      </p:stCondLst>
                                      <p:childTnLst>
                                        <p:set>
                                          <p:cBhvr>
                                            <p:cTn id="10" dur="1" fill="hold">
                                              <p:stCondLst>
                                                <p:cond delay="0"/>
                                              </p:stCondLst>
                                            </p:cTn>
                                            <p:tgtEl>
                                              <p:spTgt spid="28">
                                                <p:bg/>
                                              </p:spTgt>
                                            </p:tgtEl>
                                            <p:attrNameLst>
                                              <p:attrName>style.visibility</p:attrName>
                                            </p:attrNameLst>
                                          </p:cBhvr>
                                          <p:to>
                                            <p:strVal val="visible"/>
                                          </p:to>
                                        </p:set>
                                        <p:anim calcmode="lin" valueType="num" p14:bounceEnd="45000">
                                          <p:cBhvr additive="base">
                                            <p:cTn id="11" dur="2000" fill="hold"/>
                                            <p:tgtEl>
                                              <p:spTgt spid="28">
                                                <p:bg/>
                                              </p:spTgt>
                                            </p:tgtEl>
                                            <p:attrNameLst>
                                              <p:attrName>ppt_x</p:attrName>
                                            </p:attrNameLst>
                                          </p:cBhvr>
                                          <p:tavLst>
                                            <p:tav tm="0">
                                              <p:val>
                                                <p:strVal val="0-#ppt_w/2"/>
                                              </p:val>
                                            </p:tav>
                                            <p:tav tm="100000">
                                              <p:val>
                                                <p:strVal val="#ppt_x"/>
                                              </p:val>
                                            </p:tav>
                                          </p:tavLst>
                                        </p:anim>
                                        <p:anim calcmode="lin" valueType="num" p14:bounceEnd="45000">
                                          <p:cBhvr additive="base">
                                            <p:cTn id="12" dur="2000" fill="hold"/>
                                            <p:tgtEl>
                                              <p:spTgt spid="28">
                                                <p:bg/>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45000">
                                      <p:stCondLst>
                                        <p:cond delay="0"/>
                                      </p:stCondLst>
                                      <p:childTnLst>
                                        <p:set>
                                          <p:cBhvr>
                                            <p:cTn id="14" dur="1" fill="hold">
                                              <p:stCondLst>
                                                <p:cond delay="0"/>
                                              </p:stCondLst>
                                            </p:cTn>
                                            <p:tgtEl>
                                              <p:spTgt spid="28">
                                                <p:txEl>
                                                  <p:pRg st="0" end="0"/>
                                                </p:txEl>
                                              </p:spTgt>
                                            </p:tgtEl>
                                            <p:attrNameLst>
                                              <p:attrName>style.visibility</p:attrName>
                                            </p:attrNameLst>
                                          </p:cBhvr>
                                          <p:to>
                                            <p:strVal val="visible"/>
                                          </p:to>
                                        </p:set>
                                        <p:anim calcmode="lin" valueType="num" p14:bounceEnd="45000">
                                          <p:cBhvr additive="base">
                                            <p:cTn id="15" dur="2000" fill="hold"/>
                                            <p:tgtEl>
                                              <p:spTgt spid="28">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16" dur="2000" fill="hold"/>
                                            <p:tgtEl>
                                              <p:spTgt spid="28">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14:presetBounceEnd="45000">
                                      <p:stCondLst>
                                        <p:cond delay="0"/>
                                      </p:stCondLst>
                                      <p:childTnLst>
                                        <p:set>
                                          <p:cBhvr>
                                            <p:cTn id="18" dur="1" fill="hold">
                                              <p:stCondLst>
                                                <p:cond delay="0"/>
                                              </p:stCondLst>
                                            </p:cTn>
                                            <p:tgtEl>
                                              <p:spTgt spid="34">
                                                <p:bg/>
                                              </p:spTgt>
                                            </p:tgtEl>
                                            <p:attrNameLst>
                                              <p:attrName>style.visibility</p:attrName>
                                            </p:attrNameLst>
                                          </p:cBhvr>
                                          <p:to>
                                            <p:strVal val="visible"/>
                                          </p:to>
                                        </p:set>
                                        <p:anim calcmode="lin" valueType="num" p14:bounceEnd="45000">
                                          <p:cBhvr additive="base">
                                            <p:cTn id="19" dur="2500" fill="hold"/>
                                            <p:tgtEl>
                                              <p:spTgt spid="34">
                                                <p:bg/>
                                              </p:spTgt>
                                            </p:tgtEl>
                                            <p:attrNameLst>
                                              <p:attrName>ppt_x</p:attrName>
                                            </p:attrNameLst>
                                          </p:cBhvr>
                                          <p:tavLst>
                                            <p:tav tm="0">
                                              <p:val>
                                                <p:strVal val="0-#ppt_w/2"/>
                                              </p:val>
                                            </p:tav>
                                            <p:tav tm="100000">
                                              <p:val>
                                                <p:strVal val="#ppt_x"/>
                                              </p:val>
                                            </p:tav>
                                          </p:tavLst>
                                        </p:anim>
                                        <p:anim calcmode="lin" valueType="num" p14:bounceEnd="45000">
                                          <p:cBhvr additive="base">
                                            <p:cTn id="20" dur="2500" fill="hold"/>
                                            <p:tgtEl>
                                              <p:spTgt spid="34">
                                                <p:bg/>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14:presetBounceEnd="45000">
                                      <p:stCondLst>
                                        <p:cond delay="0"/>
                                      </p:stCondLst>
                                      <p:childTnLst>
                                        <p:set>
                                          <p:cBhvr>
                                            <p:cTn id="22" dur="1" fill="hold">
                                              <p:stCondLst>
                                                <p:cond delay="0"/>
                                              </p:stCondLst>
                                            </p:cTn>
                                            <p:tgtEl>
                                              <p:spTgt spid="34">
                                                <p:txEl>
                                                  <p:pRg st="0" end="0"/>
                                                </p:txEl>
                                              </p:spTgt>
                                            </p:tgtEl>
                                            <p:attrNameLst>
                                              <p:attrName>style.visibility</p:attrName>
                                            </p:attrNameLst>
                                          </p:cBhvr>
                                          <p:to>
                                            <p:strVal val="visible"/>
                                          </p:to>
                                        </p:set>
                                        <p:anim calcmode="lin" valueType="num" p14:bounceEnd="45000">
                                          <p:cBhvr additive="base">
                                            <p:cTn id="23" dur="2500" fill="hold"/>
                                            <p:tgtEl>
                                              <p:spTgt spid="34">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24" dur="2500" fill="hold"/>
                                            <p:tgtEl>
                                              <p:spTgt spid="34">
                                                <p:txEl>
                                                  <p:pRg st="0" end="0"/>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14:presetBounceEnd="45000">
                                      <p:stCondLst>
                                        <p:cond delay="0"/>
                                      </p:stCondLst>
                                      <p:childTnLst>
                                        <p:set>
                                          <p:cBhvr>
                                            <p:cTn id="26" dur="1" fill="hold">
                                              <p:stCondLst>
                                                <p:cond delay="0"/>
                                              </p:stCondLst>
                                            </p:cTn>
                                            <p:tgtEl>
                                              <p:spTgt spid="35">
                                                <p:bg/>
                                              </p:spTgt>
                                            </p:tgtEl>
                                            <p:attrNameLst>
                                              <p:attrName>style.visibility</p:attrName>
                                            </p:attrNameLst>
                                          </p:cBhvr>
                                          <p:to>
                                            <p:strVal val="visible"/>
                                          </p:to>
                                        </p:set>
                                        <p:anim calcmode="lin" valueType="num" p14:bounceEnd="45000">
                                          <p:cBhvr additive="base">
                                            <p:cTn id="27" dur="2000" fill="hold"/>
                                            <p:tgtEl>
                                              <p:spTgt spid="35">
                                                <p:bg/>
                                              </p:spTgt>
                                            </p:tgtEl>
                                            <p:attrNameLst>
                                              <p:attrName>ppt_x</p:attrName>
                                            </p:attrNameLst>
                                          </p:cBhvr>
                                          <p:tavLst>
                                            <p:tav tm="0">
                                              <p:val>
                                                <p:strVal val="0-#ppt_w/2"/>
                                              </p:val>
                                            </p:tav>
                                            <p:tav tm="100000">
                                              <p:val>
                                                <p:strVal val="#ppt_x"/>
                                              </p:val>
                                            </p:tav>
                                          </p:tavLst>
                                        </p:anim>
                                        <p:anim calcmode="lin" valueType="num" p14:bounceEnd="45000">
                                          <p:cBhvr additive="base">
                                            <p:cTn id="28" dur="2000" fill="hold"/>
                                            <p:tgtEl>
                                              <p:spTgt spid="35">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14:presetBounceEnd="45000">
                                      <p:stCondLst>
                                        <p:cond delay="0"/>
                                      </p:stCondLst>
                                      <p:childTnLst>
                                        <p:set>
                                          <p:cBhvr>
                                            <p:cTn id="30" dur="1" fill="hold">
                                              <p:stCondLst>
                                                <p:cond delay="0"/>
                                              </p:stCondLst>
                                            </p:cTn>
                                            <p:tgtEl>
                                              <p:spTgt spid="35">
                                                <p:txEl>
                                                  <p:pRg st="0" end="0"/>
                                                </p:txEl>
                                              </p:spTgt>
                                            </p:tgtEl>
                                            <p:attrNameLst>
                                              <p:attrName>style.visibility</p:attrName>
                                            </p:attrNameLst>
                                          </p:cBhvr>
                                          <p:to>
                                            <p:strVal val="visible"/>
                                          </p:to>
                                        </p:set>
                                        <p:anim calcmode="lin" valueType="num" p14:bounceEnd="45000">
                                          <p:cBhvr additive="base">
                                            <p:cTn id="31" dur="2000" fill="hold"/>
                                            <p:tgtEl>
                                              <p:spTgt spid="35">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32" dur="2000" fill="hold"/>
                                            <p:tgtEl>
                                              <p:spTgt spid="35">
                                                <p:txEl>
                                                  <p:pRg st="0" end="0"/>
                                                </p:txEl>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14:presetBounceEnd="45000">
                                      <p:stCondLst>
                                        <p:cond delay="0"/>
                                      </p:stCondLst>
                                      <p:childTnLst>
                                        <p:set>
                                          <p:cBhvr>
                                            <p:cTn id="34" dur="1" fill="hold">
                                              <p:stCondLst>
                                                <p:cond delay="0"/>
                                              </p:stCondLst>
                                            </p:cTn>
                                            <p:tgtEl>
                                              <p:spTgt spid="36">
                                                <p:bg/>
                                              </p:spTgt>
                                            </p:tgtEl>
                                            <p:attrNameLst>
                                              <p:attrName>style.visibility</p:attrName>
                                            </p:attrNameLst>
                                          </p:cBhvr>
                                          <p:to>
                                            <p:strVal val="visible"/>
                                          </p:to>
                                        </p:set>
                                        <p:anim calcmode="lin" valueType="num" p14:bounceEnd="45000">
                                          <p:cBhvr additive="base">
                                            <p:cTn id="35" dur="2500" fill="hold"/>
                                            <p:tgtEl>
                                              <p:spTgt spid="36">
                                                <p:bg/>
                                              </p:spTgt>
                                            </p:tgtEl>
                                            <p:attrNameLst>
                                              <p:attrName>ppt_x</p:attrName>
                                            </p:attrNameLst>
                                          </p:cBhvr>
                                          <p:tavLst>
                                            <p:tav tm="0">
                                              <p:val>
                                                <p:strVal val="0-#ppt_w/2"/>
                                              </p:val>
                                            </p:tav>
                                            <p:tav tm="100000">
                                              <p:val>
                                                <p:strVal val="#ppt_x"/>
                                              </p:val>
                                            </p:tav>
                                          </p:tavLst>
                                        </p:anim>
                                        <p:anim calcmode="lin" valueType="num" p14:bounceEnd="45000">
                                          <p:cBhvr additive="base">
                                            <p:cTn id="36" dur="2500" fill="hold"/>
                                            <p:tgtEl>
                                              <p:spTgt spid="36">
                                                <p:bg/>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14:presetBounceEnd="45000">
                                      <p:stCondLst>
                                        <p:cond delay="0"/>
                                      </p:stCondLst>
                                      <p:childTnLst>
                                        <p:set>
                                          <p:cBhvr>
                                            <p:cTn id="38" dur="1" fill="hold">
                                              <p:stCondLst>
                                                <p:cond delay="0"/>
                                              </p:stCondLst>
                                            </p:cTn>
                                            <p:tgtEl>
                                              <p:spTgt spid="36">
                                                <p:txEl>
                                                  <p:pRg st="0" end="0"/>
                                                </p:txEl>
                                              </p:spTgt>
                                            </p:tgtEl>
                                            <p:attrNameLst>
                                              <p:attrName>style.visibility</p:attrName>
                                            </p:attrNameLst>
                                          </p:cBhvr>
                                          <p:to>
                                            <p:strVal val="visible"/>
                                          </p:to>
                                        </p:set>
                                        <p:anim calcmode="lin" valueType="num" p14:bounceEnd="45000">
                                          <p:cBhvr additive="base">
                                            <p:cTn id="39" dur="2500" fill="hold"/>
                                            <p:tgtEl>
                                              <p:spTgt spid="36">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40" dur="2500" fill="hold"/>
                                            <p:tgtEl>
                                              <p:spTgt spid="36">
                                                <p:txEl>
                                                  <p:pRg st="0" end="0"/>
                                                </p:tx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14:presetBounceEnd="45000">
                                      <p:stCondLst>
                                        <p:cond delay="0"/>
                                      </p:stCondLst>
                                      <p:childTnLst>
                                        <p:set>
                                          <p:cBhvr>
                                            <p:cTn id="42" dur="1" fill="hold">
                                              <p:stCondLst>
                                                <p:cond delay="0"/>
                                              </p:stCondLst>
                                            </p:cTn>
                                            <p:tgtEl>
                                              <p:spTgt spid="37">
                                                <p:bg/>
                                              </p:spTgt>
                                            </p:tgtEl>
                                            <p:attrNameLst>
                                              <p:attrName>style.visibility</p:attrName>
                                            </p:attrNameLst>
                                          </p:cBhvr>
                                          <p:to>
                                            <p:strVal val="visible"/>
                                          </p:to>
                                        </p:set>
                                        <p:anim calcmode="lin" valueType="num" p14:bounceEnd="45000">
                                          <p:cBhvr additive="base">
                                            <p:cTn id="43" dur="2000" fill="hold"/>
                                            <p:tgtEl>
                                              <p:spTgt spid="37">
                                                <p:bg/>
                                              </p:spTgt>
                                            </p:tgtEl>
                                            <p:attrNameLst>
                                              <p:attrName>ppt_x</p:attrName>
                                            </p:attrNameLst>
                                          </p:cBhvr>
                                          <p:tavLst>
                                            <p:tav tm="0">
                                              <p:val>
                                                <p:strVal val="0-#ppt_w/2"/>
                                              </p:val>
                                            </p:tav>
                                            <p:tav tm="100000">
                                              <p:val>
                                                <p:strVal val="#ppt_x"/>
                                              </p:val>
                                            </p:tav>
                                          </p:tavLst>
                                        </p:anim>
                                        <p:anim calcmode="lin" valueType="num" p14:bounceEnd="45000">
                                          <p:cBhvr additive="base">
                                            <p:cTn id="44" dur="2000" fill="hold"/>
                                            <p:tgtEl>
                                              <p:spTgt spid="37">
                                                <p:bg/>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14:presetBounceEnd="45000">
                                      <p:stCondLst>
                                        <p:cond delay="0"/>
                                      </p:stCondLst>
                                      <p:childTnLst>
                                        <p:set>
                                          <p:cBhvr>
                                            <p:cTn id="46" dur="1" fill="hold">
                                              <p:stCondLst>
                                                <p:cond delay="0"/>
                                              </p:stCondLst>
                                            </p:cTn>
                                            <p:tgtEl>
                                              <p:spTgt spid="37">
                                                <p:txEl>
                                                  <p:pRg st="0" end="0"/>
                                                </p:txEl>
                                              </p:spTgt>
                                            </p:tgtEl>
                                            <p:attrNameLst>
                                              <p:attrName>style.visibility</p:attrName>
                                            </p:attrNameLst>
                                          </p:cBhvr>
                                          <p:to>
                                            <p:strVal val="visible"/>
                                          </p:to>
                                        </p:set>
                                        <p:anim calcmode="lin" valueType="num" p14:bounceEnd="45000">
                                          <p:cBhvr additive="base">
                                            <p:cTn id="47" dur="2000" fill="hold"/>
                                            <p:tgtEl>
                                              <p:spTgt spid="37">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48" dur="2000" fill="hold"/>
                                            <p:tgtEl>
                                              <p:spTgt spid="37">
                                                <p:txEl>
                                                  <p:pRg st="0" end="0"/>
                                                </p:txEl>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14:presetBounceEnd="45000">
                                      <p:stCondLst>
                                        <p:cond delay="0"/>
                                      </p:stCondLst>
                                      <p:childTnLst>
                                        <p:set>
                                          <p:cBhvr>
                                            <p:cTn id="50" dur="1" fill="hold">
                                              <p:stCondLst>
                                                <p:cond delay="0"/>
                                              </p:stCondLst>
                                            </p:cTn>
                                            <p:tgtEl>
                                              <p:spTgt spid="38">
                                                <p:bg/>
                                              </p:spTgt>
                                            </p:tgtEl>
                                            <p:attrNameLst>
                                              <p:attrName>style.visibility</p:attrName>
                                            </p:attrNameLst>
                                          </p:cBhvr>
                                          <p:to>
                                            <p:strVal val="visible"/>
                                          </p:to>
                                        </p:set>
                                        <p:anim calcmode="lin" valueType="num" p14:bounceEnd="45000">
                                          <p:cBhvr additive="base">
                                            <p:cTn id="51" dur="2000" fill="hold"/>
                                            <p:tgtEl>
                                              <p:spTgt spid="38">
                                                <p:bg/>
                                              </p:spTgt>
                                            </p:tgtEl>
                                            <p:attrNameLst>
                                              <p:attrName>ppt_x</p:attrName>
                                            </p:attrNameLst>
                                          </p:cBhvr>
                                          <p:tavLst>
                                            <p:tav tm="0">
                                              <p:val>
                                                <p:strVal val="0-#ppt_w/2"/>
                                              </p:val>
                                            </p:tav>
                                            <p:tav tm="100000">
                                              <p:val>
                                                <p:strVal val="#ppt_x"/>
                                              </p:val>
                                            </p:tav>
                                          </p:tavLst>
                                        </p:anim>
                                        <p:anim calcmode="lin" valueType="num" p14:bounceEnd="45000">
                                          <p:cBhvr additive="base">
                                            <p:cTn id="52" dur="2000" fill="hold"/>
                                            <p:tgtEl>
                                              <p:spTgt spid="38">
                                                <p:bg/>
                                              </p:spTgt>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14:presetBounceEnd="45000">
                                      <p:stCondLst>
                                        <p:cond delay="0"/>
                                      </p:stCondLst>
                                      <p:childTnLst>
                                        <p:set>
                                          <p:cBhvr>
                                            <p:cTn id="54" dur="1" fill="hold">
                                              <p:stCondLst>
                                                <p:cond delay="0"/>
                                              </p:stCondLst>
                                            </p:cTn>
                                            <p:tgtEl>
                                              <p:spTgt spid="38">
                                                <p:txEl>
                                                  <p:pRg st="0" end="0"/>
                                                </p:txEl>
                                              </p:spTgt>
                                            </p:tgtEl>
                                            <p:attrNameLst>
                                              <p:attrName>style.visibility</p:attrName>
                                            </p:attrNameLst>
                                          </p:cBhvr>
                                          <p:to>
                                            <p:strVal val="visible"/>
                                          </p:to>
                                        </p:set>
                                        <p:anim calcmode="lin" valueType="num" p14:bounceEnd="45000">
                                          <p:cBhvr additive="base">
                                            <p:cTn id="55" dur="2000" fill="hold"/>
                                            <p:tgtEl>
                                              <p:spTgt spid="38">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56" dur="2000" fill="hold"/>
                                            <p:tgtEl>
                                              <p:spTgt spid="38">
                                                <p:txEl>
                                                  <p:pRg st="0" end="0"/>
                                                </p:txEl>
                                              </p:spTgt>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15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1+#ppt_w/2"/>
                                              </p:val>
                                            </p:tav>
                                            <p:tav tm="100000">
                                              <p:val>
                                                <p:strVal val="#ppt_x"/>
                                              </p:val>
                                            </p:tav>
                                          </p:tavLst>
                                        </p:anim>
                                        <p:anim calcmode="lin" valueType="num">
                                          <p:cBhvr additive="base">
                                            <p:cTn id="60"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28"/>
                            </p:tgtEl>
                            <p:attrNameLst>
                              <p:attrName>style.visibility</p:attrName>
                            </p:attrNameLst>
                          </p:cBhvr>
                          <p:to>
                            <p:strVal val="visible"/>
                          </p:to>
                        </p:set>
                        <p:anim calcmode="lin" valueType="num" p14:bounceEnd="45000">
                          <p:cBhvr additive="base">
                            <p:cTn dur="2000" fill="hold"/>
                            <p:tgtEl>
                              <p:spTgt spid="28"/>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28"/>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28"/>
                            </p:tgtEl>
                            <p:attrNameLst>
                              <p:attrName>style.visibility</p:attrName>
                            </p:attrNameLst>
                          </p:cBhvr>
                          <p:to>
                            <p:strVal val="visible"/>
                          </p:to>
                        </p:set>
                        <p:anim calcmode="lin" valueType="num" p14:bounceEnd="45000">
                          <p:cBhvr additive="base">
                            <p:cTn dur="2000" fill="hold"/>
                            <p:tgtEl>
                              <p:spTgt spid="28"/>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28"/>
                            </p:tgtEl>
                            <p:attrNameLst>
                              <p:attrName>ppt_y</p:attrName>
                            </p:attrNameLst>
                          </p:cBhvr>
                          <p:tavLst>
                            <p:tav tm="0">
                              <p:val>
                                <p:strVal val="#ppt_y"/>
                              </p:val>
                            </p:tav>
                            <p:tav tm="100000">
                              <p:val>
                                <p:strVal val="#ppt_y"/>
                              </p:val>
                            </p:tav>
                          </p:tavLst>
                        </p:anim>
                      </p:childTnLst>
                    </p:cTn>
                  </p:par>
                </p:tnLst>
              </p:tmpl>
            </p:tmplLst>
          </p:bldP>
          <p:bldP spid="34"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4"/>
                            </p:tgtEl>
                            <p:attrNameLst>
                              <p:attrName>style.visibility</p:attrName>
                            </p:attrNameLst>
                          </p:cBhvr>
                          <p:to>
                            <p:strVal val="visible"/>
                          </p:to>
                        </p:set>
                        <p:anim calcmode="lin" valueType="num" p14:bounceEnd="45000">
                          <p:cBhvr additive="base">
                            <p:cTn dur="2500" fill="hold"/>
                            <p:tgtEl>
                              <p:spTgt spid="34"/>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4"/>
                            </p:tgtEl>
                            <p:attrNameLst>
                              <p:attrName>style.visibility</p:attrName>
                            </p:attrNameLst>
                          </p:cBhvr>
                          <p:to>
                            <p:strVal val="visible"/>
                          </p:to>
                        </p:set>
                        <p:anim calcmode="lin" valueType="num" p14:bounceEnd="45000">
                          <p:cBhvr additive="base">
                            <p:cTn dur="2500" fill="hold"/>
                            <p:tgtEl>
                              <p:spTgt spid="34"/>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4"/>
                            </p:tgtEl>
                            <p:attrNameLst>
                              <p:attrName>ppt_y</p:attrName>
                            </p:attrNameLst>
                          </p:cBhvr>
                          <p:tavLst>
                            <p:tav tm="0">
                              <p:val>
                                <p:strVal val="#ppt_y"/>
                              </p:val>
                            </p:tav>
                            <p:tav tm="100000">
                              <p:val>
                                <p:strVal val="#ppt_y"/>
                              </p:val>
                            </p:tav>
                          </p:tavLst>
                        </p:anim>
                      </p:childTnLst>
                    </p:cTn>
                  </p:par>
                </p:tnLst>
              </p:tmpl>
            </p:tmplLst>
          </p:bldP>
          <p:bldP spid="35"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5"/>
                            </p:tgtEl>
                            <p:attrNameLst>
                              <p:attrName>style.visibility</p:attrName>
                            </p:attrNameLst>
                          </p:cBhvr>
                          <p:to>
                            <p:strVal val="visible"/>
                          </p:to>
                        </p:set>
                        <p:anim calcmode="lin" valueType="num" p14:bounceEnd="45000">
                          <p:cBhvr additive="base">
                            <p:cTn dur="2000" fill="hold"/>
                            <p:tgtEl>
                              <p:spTgt spid="35"/>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35"/>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5"/>
                            </p:tgtEl>
                            <p:attrNameLst>
                              <p:attrName>style.visibility</p:attrName>
                            </p:attrNameLst>
                          </p:cBhvr>
                          <p:to>
                            <p:strVal val="visible"/>
                          </p:to>
                        </p:set>
                        <p:anim calcmode="lin" valueType="num" p14:bounceEnd="45000">
                          <p:cBhvr additive="base">
                            <p:cTn dur="2000" fill="hold"/>
                            <p:tgtEl>
                              <p:spTgt spid="35"/>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35"/>
                            </p:tgtEl>
                            <p:attrNameLst>
                              <p:attrName>ppt_y</p:attrName>
                            </p:attrNameLst>
                          </p:cBhvr>
                          <p:tavLst>
                            <p:tav tm="0">
                              <p:val>
                                <p:strVal val="#ppt_y"/>
                              </p:val>
                            </p:tav>
                            <p:tav tm="100000">
                              <p:val>
                                <p:strVal val="#ppt_y"/>
                              </p:val>
                            </p:tav>
                          </p:tavLst>
                        </p:anim>
                      </p:childTnLst>
                    </p:cTn>
                  </p:par>
                </p:tnLst>
              </p:tmpl>
            </p:tmplLst>
          </p:bldP>
          <p:bldP spid="36"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6"/>
                            </p:tgtEl>
                            <p:attrNameLst>
                              <p:attrName>style.visibility</p:attrName>
                            </p:attrNameLst>
                          </p:cBhvr>
                          <p:to>
                            <p:strVal val="visible"/>
                          </p:to>
                        </p:set>
                        <p:anim calcmode="lin" valueType="num" p14:bounceEnd="45000">
                          <p:cBhvr additive="base">
                            <p:cTn dur="2500" fill="hold"/>
                            <p:tgtEl>
                              <p:spTgt spid="36"/>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6"/>
                            </p:tgtEl>
                            <p:attrNameLst>
                              <p:attrName>style.visibility</p:attrName>
                            </p:attrNameLst>
                          </p:cBhvr>
                          <p:to>
                            <p:strVal val="visible"/>
                          </p:to>
                        </p:set>
                        <p:anim calcmode="lin" valueType="num" p14:bounceEnd="45000">
                          <p:cBhvr additive="base">
                            <p:cTn dur="2500" fill="hold"/>
                            <p:tgtEl>
                              <p:spTgt spid="36"/>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6"/>
                            </p:tgtEl>
                            <p:attrNameLst>
                              <p:attrName>ppt_y</p:attrName>
                            </p:attrNameLst>
                          </p:cBhvr>
                          <p:tavLst>
                            <p:tav tm="0">
                              <p:val>
                                <p:strVal val="#ppt_y"/>
                              </p:val>
                            </p:tav>
                            <p:tav tm="100000">
                              <p:val>
                                <p:strVal val="#ppt_y"/>
                              </p:val>
                            </p:tav>
                          </p:tavLst>
                        </p:anim>
                      </p:childTnLst>
                    </p:cTn>
                  </p:par>
                </p:tnLst>
              </p:tmpl>
            </p:tmplLst>
          </p:bldP>
          <p:bldP spid="37"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7"/>
                            </p:tgtEl>
                            <p:attrNameLst>
                              <p:attrName>style.visibility</p:attrName>
                            </p:attrNameLst>
                          </p:cBhvr>
                          <p:to>
                            <p:strVal val="visible"/>
                          </p:to>
                        </p:set>
                        <p:anim calcmode="lin" valueType="num" p14:bounceEnd="45000">
                          <p:cBhvr additive="base">
                            <p:cTn dur="2000" fill="hold"/>
                            <p:tgtEl>
                              <p:spTgt spid="37"/>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3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7"/>
                            </p:tgtEl>
                            <p:attrNameLst>
                              <p:attrName>style.visibility</p:attrName>
                            </p:attrNameLst>
                          </p:cBhvr>
                          <p:to>
                            <p:strVal val="visible"/>
                          </p:to>
                        </p:set>
                        <p:anim calcmode="lin" valueType="num" p14:bounceEnd="45000">
                          <p:cBhvr additive="base">
                            <p:cTn dur="2000" fill="hold"/>
                            <p:tgtEl>
                              <p:spTgt spid="37"/>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37"/>
                            </p:tgtEl>
                            <p:attrNameLst>
                              <p:attrName>ppt_y</p:attrName>
                            </p:attrNameLst>
                          </p:cBhvr>
                          <p:tavLst>
                            <p:tav tm="0">
                              <p:val>
                                <p:strVal val="#ppt_y"/>
                              </p:val>
                            </p:tav>
                            <p:tav tm="100000">
                              <p:val>
                                <p:strVal val="#ppt_y"/>
                              </p:val>
                            </p:tav>
                          </p:tavLst>
                        </p:anim>
                      </p:childTnLst>
                    </p:cTn>
                  </p:par>
                </p:tnLst>
              </p:tmpl>
            </p:tmplLst>
          </p:bldP>
          <p:bldP spid="38"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8"/>
                            </p:tgtEl>
                            <p:attrNameLst>
                              <p:attrName>style.visibility</p:attrName>
                            </p:attrNameLst>
                          </p:cBhvr>
                          <p:to>
                            <p:strVal val="visible"/>
                          </p:to>
                        </p:set>
                        <p:anim calcmode="lin" valueType="num" p14:bounceEnd="45000">
                          <p:cBhvr additive="base">
                            <p:cTn dur="2000" fill="hold"/>
                            <p:tgtEl>
                              <p:spTgt spid="38"/>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38"/>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8"/>
                            </p:tgtEl>
                            <p:attrNameLst>
                              <p:attrName>style.visibility</p:attrName>
                            </p:attrNameLst>
                          </p:cBhvr>
                          <p:to>
                            <p:strVal val="visible"/>
                          </p:to>
                        </p:set>
                        <p:anim calcmode="lin" valueType="num" p14:bounceEnd="45000">
                          <p:cBhvr additive="base">
                            <p:cTn dur="2000" fill="hold"/>
                            <p:tgtEl>
                              <p:spTgt spid="38"/>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38"/>
                            </p:tgtEl>
                            <p:attrNameLst>
                              <p:attrName>ppt_y</p:attrName>
                            </p:attrNameLst>
                          </p:cBhvr>
                          <p:tavLst>
                            <p:tav tm="0">
                              <p:val>
                                <p:strVal val="#ppt_y"/>
                              </p:val>
                            </p:tav>
                            <p:tav tm="100000">
                              <p:val>
                                <p:strVal val="#ppt_y"/>
                              </p:val>
                            </p:tav>
                          </p:tavLst>
                        </p:anim>
                      </p:childTnLst>
                    </p:cTn>
                  </p:par>
                </p:tnLst>
              </p:tmpl>
            </p:tmplLst>
          </p:bldP>
          <p:bldP spid="3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2000" fill="hold"/>
                                            <p:tgtEl>
                                              <p:spTgt spid="39"/>
                                            </p:tgtEl>
                                            <p:attrNameLst>
                                              <p:attrName>ppt_x</p:attrName>
                                            </p:attrNameLst>
                                          </p:cBhvr>
                                          <p:tavLst>
                                            <p:tav tm="0">
                                              <p:val>
                                                <p:strVal val="0-#ppt_w/2"/>
                                              </p:val>
                                            </p:tav>
                                            <p:tav tm="100000">
                                              <p:val>
                                                <p:strVal val="#ppt_x"/>
                                              </p:val>
                                            </p:tav>
                                          </p:tavLst>
                                        </p:anim>
                                        <p:anim calcmode="lin" valueType="num">
                                          <p:cBhvr additive="base">
                                            <p:cTn id="8" dur="20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8">
                                                <p:bg/>
                                              </p:spTgt>
                                            </p:tgtEl>
                                            <p:attrNameLst>
                                              <p:attrName>style.visibility</p:attrName>
                                            </p:attrNameLst>
                                          </p:cBhvr>
                                          <p:to>
                                            <p:strVal val="visible"/>
                                          </p:to>
                                        </p:set>
                                        <p:anim calcmode="lin" valueType="num">
                                          <p:cBhvr additive="base">
                                            <p:cTn id="11" dur="2000" fill="hold"/>
                                            <p:tgtEl>
                                              <p:spTgt spid="28">
                                                <p:bg/>
                                              </p:spTgt>
                                            </p:tgtEl>
                                            <p:attrNameLst>
                                              <p:attrName>ppt_x</p:attrName>
                                            </p:attrNameLst>
                                          </p:cBhvr>
                                          <p:tavLst>
                                            <p:tav tm="0">
                                              <p:val>
                                                <p:strVal val="0-#ppt_w/2"/>
                                              </p:val>
                                            </p:tav>
                                            <p:tav tm="100000">
                                              <p:val>
                                                <p:strVal val="#ppt_x"/>
                                              </p:val>
                                            </p:tav>
                                          </p:tavLst>
                                        </p:anim>
                                        <p:anim calcmode="lin" valueType="num">
                                          <p:cBhvr additive="base">
                                            <p:cTn id="12" dur="2000" fill="hold"/>
                                            <p:tgtEl>
                                              <p:spTgt spid="28">
                                                <p:bg/>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28">
                                                <p:txEl>
                                                  <p:pRg st="0" end="0"/>
                                                </p:txEl>
                                              </p:spTgt>
                                            </p:tgtEl>
                                            <p:attrNameLst>
                                              <p:attrName>style.visibility</p:attrName>
                                            </p:attrNameLst>
                                          </p:cBhvr>
                                          <p:to>
                                            <p:strVal val="visible"/>
                                          </p:to>
                                        </p:set>
                                        <p:anim calcmode="lin" valueType="num">
                                          <p:cBhvr additive="base">
                                            <p:cTn id="15" dur="2000" fill="hold"/>
                                            <p:tgtEl>
                                              <p:spTgt spid="28">
                                                <p:txEl>
                                                  <p:pRg st="0" end="0"/>
                                                </p:txEl>
                                              </p:spTgt>
                                            </p:tgtEl>
                                            <p:attrNameLst>
                                              <p:attrName>ppt_x</p:attrName>
                                            </p:attrNameLst>
                                          </p:cBhvr>
                                          <p:tavLst>
                                            <p:tav tm="0">
                                              <p:val>
                                                <p:strVal val="0-#ppt_w/2"/>
                                              </p:val>
                                            </p:tav>
                                            <p:tav tm="100000">
                                              <p:val>
                                                <p:strVal val="#ppt_x"/>
                                              </p:val>
                                            </p:tav>
                                          </p:tavLst>
                                        </p:anim>
                                        <p:anim calcmode="lin" valueType="num">
                                          <p:cBhvr additive="base">
                                            <p:cTn id="16" dur="2000" fill="hold"/>
                                            <p:tgtEl>
                                              <p:spTgt spid="28">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4">
                                                <p:bg/>
                                              </p:spTgt>
                                            </p:tgtEl>
                                            <p:attrNameLst>
                                              <p:attrName>style.visibility</p:attrName>
                                            </p:attrNameLst>
                                          </p:cBhvr>
                                          <p:to>
                                            <p:strVal val="visible"/>
                                          </p:to>
                                        </p:set>
                                        <p:anim calcmode="lin" valueType="num">
                                          <p:cBhvr additive="base">
                                            <p:cTn id="19" dur="2500" fill="hold"/>
                                            <p:tgtEl>
                                              <p:spTgt spid="34">
                                                <p:bg/>
                                              </p:spTgt>
                                            </p:tgtEl>
                                            <p:attrNameLst>
                                              <p:attrName>ppt_x</p:attrName>
                                            </p:attrNameLst>
                                          </p:cBhvr>
                                          <p:tavLst>
                                            <p:tav tm="0">
                                              <p:val>
                                                <p:strVal val="0-#ppt_w/2"/>
                                              </p:val>
                                            </p:tav>
                                            <p:tav tm="100000">
                                              <p:val>
                                                <p:strVal val="#ppt_x"/>
                                              </p:val>
                                            </p:tav>
                                          </p:tavLst>
                                        </p:anim>
                                        <p:anim calcmode="lin" valueType="num">
                                          <p:cBhvr additive="base">
                                            <p:cTn id="20" dur="2500" fill="hold"/>
                                            <p:tgtEl>
                                              <p:spTgt spid="34">
                                                <p:bg/>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34">
                                                <p:txEl>
                                                  <p:pRg st="0" end="0"/>
                                                </p:txEl>
                                              </p:spTgt>
                                            </p:tgtEl>
                                            <p:attrNameLst>
                                              <p:attrName>style.visibility</p:attrName>
                                            </p:attrNameLst>
                                          </p:cBhvr>
                                          <p:to>
                                            <p:strVal val="visible"/>
                                          </p:to>
                                        </p:set>
                                        <p:anim calcmode="lin" valueType="num">
                                          <p:cBhvr additive="base">
                                            <p:cTn id="23" dur="2500" fill="hold"/>
                                            <p:tgtEl>
                                              <p:spTgt spid="34">
                                                <p:txEl>
                                                  <p:pRg st="0" end="0"/>
                                                </p:txEl>
                                              </p:spTgt>
                                            </p:tgtEl>
                                            <p:attrNameLst>
                                              <p:attrName>ppt_x</p:attrName>
                                            </p:attrNameLst>
                                          </p:cBhvr>
                                          <p:tavLst>
                                            <p:tav tm="0">
                                              <p:val>
                                                <p:strVal val="0-#ppt_w/2"/>
                                              </p:val>
                                            </p:tav>
                                            <p:tav tm="100000">
                                              <p:val>
                                                <p:strVal val="#ppt_x"/>
                                              </p:val>
                                            </p:tav>
                                          </p:tavLst>
                                        </p:anim>
                                        <p:anim calcmode="lin" valueType="num">
                                          <p:cBhvr additive="base">
                                            <p:cTn id="24" dur="2500" fill="hold"/>
                                            <p:tgtEl>
                                              <p:spTgt spid="34">
                                                <p:txEl>
                                                  <p:pRg st="0" end="0"/>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35">
                                                <p:bg/>
                                              </p:spTgt>
                                            </p:tgtEl>
                                            <p:attrNameLst>
                                              <p:attrName>style.visibility</p:attrName>
                                            </p:attrNameLst>
                                          </p:cBhvr>
                                          <p:to>
                                            <p:strVal val="visible"/>
                                          </p:to>
                                        </p:set>
                                        <p:anim calcmode="lin" valueType="num">
                                          <p:cBhvr additive="base">
                                            <p:cTn id="27" dur="2000" fill="hold"/>
                                            <p:tgtEl>
                                              <p:spTgt spid="35">
                                                <p:bg/>
                                              </p:spTgt>
                                            </p:tgtEl>
                                            <p:attrNameLst>
                                              <p:attrName>ppt_x</p:attrName>
                                            </p:attrNameLst>
                                          </p:cBhvr>
                                          <p:tavLst>
                                            <p:tav tm="0">
                                              <p:val>
                                                <p:strVal val="0-#ppt_w/2"/>
                                              </p:val>
                                            </p:tav>
                                            <p:tav tm="100000">
                                              <p:val>
                                                <p:strVal val="#ppt_x"/>
                                              </p:val>
                                            </p:tav>
                                          </p:tavLst>
                                        </p:anim>
                                        <p:anim calcmode="lin" valueType="num">
                                          <p:cBhvr additive="base">
                                            <p:cTn id="28" dur="2000" fill="hold"/>
                                            <p:tgtEl>
                                              <p:spTgt spid="35">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35">
                                                <p:txEl>
                                                  <p:pRg st="0" end="0"/>
                                                </p:txEl>
                                              </p:spTgt>
                                            </p:tgtEl>
                                            <p:attrNameLst>
                                              <p:attrName>style.visibility</p:attrName>
                                            </p:attrNameLst>
                                          </p:cBhvr>
                                          <p:to>
                                            <p:strVal val="visible"/>
                                          </p:to>
                                        </p:set>
                                        <p:anim calcmode="lin" valueType="num">
                                          <p:cBhvr additive="base">
                                            <p:cTn id="31" dur="2000" fill="hold"/>
                                            <p:tgtEl>
                                              <p:spTgt spid="35">
                                                <p:txEl>
                                                  <p:pRg st="0" end="0"/>
                                                </p:txEl>
                                              </p:spTgt>
                                            </p:tgtEl>
                                            <p:attrNameLst>
                                              <p:attrName>ppt_x</p:attrName>
                                            </p:attrNameLst>
                                          </p:cBhvr>
                                          <p:tavLst>
                                            <p:tav tm="0">
                                              <p:val>
                                                <p:strVal val="0-#ppt_w/2"/>
                                              </p:val>
                                            </p:tav>
                                            <p:tav tm="100000">
                                              <p:val>
                                                <p:strVal val="#ppt_x"/>
                                              </p:val>
                                            </p:tav>
                                          </p:tavLst>
                                        </p:anim>
                                        <p:anim calcmode="lin" valueType="num">
                                          <p:cBhvr additive="base">
                                            <p:cTn id="32" dur="2000" fill="hold"/>
                                            <p:tgtEl>
                                              <p:spTgt spid="35">
                                                <p:txEl>
                                                  <p:pRg st="0" end="0"/>
                                                </p:txEl>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36">
                                                <p:bg/>
                                              </p:spTgt>
                                            </p:tgtEl>
                                            <p:attrNameLst>
                                              <p:attrName>style.visibility</p:attrName>
                                            </p:attrNameLst>
                                          </p:cBhvr>
                                          <p:to>
                                            <p:strVal val="visible"/>
                                          </p:to>
                                        </p:set>
                                        <p:anim calcmode="lin" valueType="num">
                                          <p:cBhvr additive="base">
                                            <p:cTn id="35" dur="2500" fill="hold"/>
                                            <p:tgtEl>
                                              <p:spTgt spid="36">
                                                <p:bg/>
                                              </p:spTgt>
                                            </p:tgtEl>
                                            <p:attrNameLst>
                                              <p:attrName>ppt_x</p:attrName>
                                            </p:attrNameLst>
                                          </p:cBhvr>
                                          <p:tavLst>
                                            <p:tav tm="0">
                                              <p:val>
                                                <p:strVal val="0-#ppt_w/2"/>
                                              </p:val>
                                            </p:tav>
                                            <p:tav tm="100000">
                                              <p:val>
                                                <p:strVal val="#ppt_x"/>
                                              </p:val>
                                            </p:tav>
                                          </p:tavLst>
                                        </p:anim>
                                        <p:anim calcmode="lin" valueType="num">
                                          <p:cBhvr additive="base">
                                            <p:cTn id="36" dur="2500" fill="hold"/>
                                            <p:tgtEl>
                                              <p:spTgt spid="36">
                                                <p:bg/>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36">
                                                <p:txEl>
                                                  <p:pRg st="0" end="0"/>
                                                </p:txEl>
                                              </p:spTgt>
                                            </p:tgtEl>
                                            <p:attrNameLst>
                                              <p:attrName>style.visibility</p:attrName>
                                            </p:attrNameLst>
                                          </p:cBhvr>
                                          <p:to>
                                            <p:strVal val="visible"/>
                                          </p:to>
                                        </p:set>
                                        <p:anim calcmode="lin" valueType="num">
                                          <p:cBhvr additive="base">
                                            <p:cTn id="39" dur="2500" fill="hold"/>
                                            <p:tgtEl>
                                              <p:spTgt spid="36">
                                                <p:txEl>
                                                  <p:pRg st="0" end="0"/>
                                                </p:txEl>
                                              </p:spTgt>
                                            </p:tgtEl>
                                            <p:attrNameLst>
                                              <p:attrName>ppt_x</p:attrName>
                                            </p:attrNameLst>
                                          </p:cBhvr>
                                          <p:tavLst>
                                            <p:tav tm="0">
                                              <p:val>
                                                <p:strVal val="0-#ppt_w/2"/>
                                              </p:val>
                                            </p:tav>
                                            <p:tav tm="100000">
                                              <p:val>
                                                <p:strVal val="#ppt_x"/>
                                              </p:val>
                                            </p:tav>
                                          </p:tavLst>
                                        </p:anim>
                                        <p:anim calcmode="lin" valueType="num">
                                          <p:cBhvr additive="base">
                                            <p:cTn id="40" dur="2500" fill="hold"/>
                                            <p:tgtEl>
                                              <p:spTgt spid="36">
                                                <p:txEl>
                                                  <p:pRg st="0" end="0"/>
                                                </p:tx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37">
                                                <p:bg/>
                                              </p:spTgt>
                                            </p:tgtEl>
                                            <p:attrNameLst>
                                              <p:attrName>style.visibility</p:attrName>
                                            </p:attrNameLst>
                                          </p:cBhvr>
                                          <p:to>
                                            <p:strVal val="visible"/>
                                          </p:to>
                                        </p:set>
                                        <p:anim calcmode="lin" valueType="num">
                                          <p:cBhvr additive="base">
                                            <p:cTn id="43" dur="2000" fill="hold"/>
                                            <p:tgtEl>
                                              <p:spTgt spid="37">
                                                <p:bg/>
                                              </p:spTgt>
                                            </p:tgtEl>
                                            <p:attrNameLst>
                                              <p:attrName>ppt_x</p:attrName>
                                            </p:attrNameLst>
                                          </p:cBhvr>
                                          <p:tavLst>
                                            <p:tav tm="0">
                                              <p:val>
                                                <p:strVal val="0-#ppt_w/2"/>
                                              </p:val>
                                            </p:tav>
                                            <p:tav tm="100000">
                                              <p:val>
                                                <p:strVal val="#ppt_x"/>
                                              </p:val>
                                            </p:tav>
                                          </p:tavLst>
                                        </p:anim>
                                        <p:anim calcmode="lin" valueType="num">
                                          <p:cBhvr additive="base">
                                            <p:cTn id="44" dur="2000" fill="hold"/>
                                            <p:tgtEl>
                                              <p:spTgt spid="37">
                                                <p:bg/>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37">
                                                <p:txEl>
                                                  <p:pRg st="0" end="0"/>
                                                </p:txEl>
                                              </p:spTgt>
                                            </p:tgtEl>
                                            <p:attrNameLst>
                                              <p:attrName>style.visibility</p:attrName>
                                            </p:attrNameLst>
                                          </p:cBhvr>
                                          <p:to>
                                            <p:strVal val="visible"/>
                                          </p:to>
                                        </p:set>
                                        <p:anim calcmode="lin" valueType="num">
                                          <p:cBhvr additive="base">
                                            <p:cTn id="47" dur="2000" fill="hold"/>
                                            <p:tgtEl>
                                              <p:spTgt spid="37">
                                                <p:txEl>
                                                  <p:pRg st="0" end="0"/>
                                                </p:txEl>
                                              </p:spTgt>
                                            </p:tgtEl>
                                            <p:attrNameLst>
                                              <p:attrName>ppt_x</p:attrName>
                                            </p:attrNameLst>
                                          </p:cBhvr>
                                          <p:tavLst>
                                            <p:tav tm="0">
                                              <p:val>
                                                <p:strVal val="0-#ppt_w/2"/>
                                              </p:val>
                                            </p:tav>
                                            <p:tav tm="100000">
                                              <p:val>
                                                <p:strVal val="#ppt_x"/>
                                              </p:val>
                                            </p:tav>
                                          </p:tavLst>
                                        </p:anim>
                                        <p:anim calcmode="lin" valueType="num">
                                          <p:cBhvr additive="base">
                                            <p:cTn id="48" dur="2000" fill="hold"/>
                                            <p:tgtEl>
                                              <p:spTgt spid="37">
                                                <p:txEl>
                                                  <p:pRg st="0" end="0"/>
                                                </p:txEl>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38">
                                                <p:bg/>
                                              </p:spTgt>
                                            </p:tgtEl>
                                            <p:attrNameLst>
                                              <p:attrName>style.visibility</p:attrName>
                                            </p:attrNameLst>
                                          </p:cBhvr>
                                          <p:to>
                                            <p:strVal val="visible"/>
                                          </p:to>
                                        </p:set>
                                        <p:anim calcmode="lin" valueType="num">
                                          <p:cBhvr additive="base">
                                            <p:cTn id="51" dur="2000" fill="hold"/>
                                            <p:tgtEl>
                                              <p:spTgt spid="38">
                                                <p:bg/>
                                              </p:spTgt>
                                            </p:tgtEl>
                                            <p:attrNameLst>
                                              <p:attrName>ppt_x</p:attrName>
                                            </p:attrNameLst>
                                          </p:cBhvr>
                                          <p:tavLst>
                                            <p:tav tm="0">
                                              <p:val>
                                                <p:strVal val="0-#ppt_w/2"/>
                                              </p:val>
                                            </p:tav>
                                            <p:tav tm="100000">
                                              <p:val>
                                                <p:strVal val="#ppt_x"/>
                                              </p:val>
                                            </p:tav>
                                          </p:tavLst>
                                        </p:anim>
                                        <p:anim calcmode="lin" valueType="num">
                                          <p:cBhvr additive="base">
                                            <p:cTn id="52" dur="2000" fill="hold"/>
                                            <p:tgtEl>
                                              <p:spTgt spid="38">
                                                <p:bg/>
                                              </p:spTgt>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38">
                                                <p:txEl>
                                                  <p:pRg st="0" end="0"/>
                                                </p:txEl>
                                              </p:spTgt>
                                            </p:tgtEl>
                                            <p:attrNameLst>
                                              <p:attrName>style.visibility</p:attrName>
                                            </p:attrNameLst>
                                          </p:cBhvr>
                                          <p:to>
                                            <p:strVal val="visible"/>
                                          </p:to>
                                        </p:set>
                                        <p:anim calcmode="lin" valueType="num">
                                          <p:cBhvr additive="base">
                                            <p:cTn id="55" dur="2000" fill="hold"/>
                                            <p:tgtEl>
                                              <p:spTgt spid="38">
                                                <p:txEl>
                                                  <p:pRg st="0" end="0"/>
                                                </p:txEl>
                                              </p:spTgt>
                                            </p:tgtEl>
                                            <p:attrNameLst>
                                              <p:attrName>ppt_x</p:attrName>
                                            </p:attrNameLst>
                                          </p:cBhvr>
                                          <p:tavLst>
                                            <p:tav tm="0">
                                              <p:val>
                                                <p:strVal val="0-#ppt_w/2"/>
                                              </p:val>
                                            </p:tav>
                                            <p:tav tm="100000">
                                              <p:val>
                                                <p:strVal val="#ppt_x"/>
                                              </p:val>
                                            </p:tav>
                                          </p:tavLst>
                                        </p:anim>
                                        <p:anim calcmode="lin" valueType="num">
                                          <p:cBhvr additive="base">
                                            <p:cTn id="56" dur="2000" fill="hold"/>
                                            <p:tgtEl>
                                              <p:spTgt spid="38">
                                                <p:txEl>
                                                  <p:pRg st="0" end="0"/>
                                                </p:txEl>
                                              </p:spTgt>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15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1+#ppt_w/2"/>
                                              </p:val>
                                            </p:tav>
                                            <p:tav tm="100000">
                                              <p:val>
                                                <p:strVal val="#ppt_x"/>
                                              </p:val>
                                            </p:tav>
                                          </p:tavLst>
                                        </p:anim>
                                        <p:anim calcmode="lin" valueType="num">
                                          <p:cBhvr additive="base">
                                            <p:cTn id="60"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build="p" animBg="1">
            <p:tmplLst>
              <p:tmpl>
                <p:tnLst>
                  <p:par>
                    <p:cTn presetID="2" presetClass="entr" presetSubtype="8" fill="hold" nodeType="withEffect">
                      <p:stCondLst>
                        <p:cond delay="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2000" fill="hold"/>
                            <p:tgtEl>
                              <p:spTgt spid="28"/>
                            </p:tgtEl>
                            <p:attrNameLst>
                              <p:attrName>ppt_x</p:attrName>
                            </p:attrNameLst>
                          </p:cBhvr>
                          <p:tavLst>
                            <p:tav tm="0">
                              <p:val>
                                <p:strVal val="0-#ppt_w/2"/>
                              </p:val>
                            </p:tav>
                            <p:tav tm="100000">
                              <p:val>
                                <p:strVal val="#ppt_x"/>
                              </p:val>
                            </p:tav>
                          </p:tavLst>
                        </p:anim>
                        <p:anim calcmode="lin" valueType="num">
                          <p:cBhvr additive="base">
                            <p:cTn dur="2000" fill="hold"/>
                            <p:tgtEl>
                              <p:spTgt spid="28"/>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2000" fill="hold"/>
                            <p:tgtEl>
                              <p:spTgt spid="28"/>
                            </p:tgtEl>
                            <p:attrNameLst>
                              <p:attrName>ppt_x</p:attrName>
                            </p:attrNameLst>
                          </p:cBhvr>
                          <p:tavLst>
                            <p:tav tm="0">
                              <p:val>
                                <p:strVal val="0-#ppt_w/2"/>
                              </p:val>
                            </p:tav>
                            <p:tav tm="100000">
                              <p:val>
                                <p:strVal val="#ppt_x"/>
                              </p:val>
                            </p:tav>
                          </p:tavLst>
                        </p:anim>
                        <p:anim calcmode="lin" valueType="num">
                          <p:cBhvr additive="base">
                            <p:cTn dur="2000" fill="hold"/>
                            <p:tgtEl>
                              <p:spTgt spid="28"/>
                            </p:tgtEl>
                            <p:attrNameLst>
                              <p:attrName>ppt_y</p:attrName>
                            </p:attrNameLst>
                          </p:cBhvr>
                          <p:tavLst>
                            <p:tav tm="0">
                              <p:val>
                                <p:strVal val="#ppt_y"/>
                              </p:val>
                            </p:tav>
                            <p:tav tm="100000">
                              <p:val>
                                <p:strVal val="#ppt_y"/>
                              </p:val>
                            </p:tav>
                          </p:tavLst>
                        </p:anim>
                      </p:childTnLst>
                    </p:cTn>
                  </p:par>
                </p:tnLst>
              </p:tmpl>
            </p:tmplLst>
          </p:bldP>
          <p:bldP spid="34" grpId="0" build="p" animBg="1">
            <p:tmplLst>
              <p:tmpl>
                <p:tnLst>
                  <p:par>
                    <p:cTn presetID="2" presetClass="entr" presetSubtype="8" fill="hold" nodeType="withEffect">
                      <p:stCondLst>
                        <p:cond delay="0"/>
                      </p:stCondLst>
                      <p:childTnLst>
                        <p:set>
                          <p:cBhvr>
                            <p:cTn dur="1" fill="hold">
                              <p:stCondLst>
                                <p:cond delay="0"/>
                              </p:stCondLst>
                            </p:cTn>
                            <p:tgtEl>
                              <p:spTgt spid="34"/>
                            </p:tgtEl>
                            <p:attrNameLst>
                              <p:attrName>style.visibility</p:attrName>
                            </p:attrNameLst>
                          </p:cBhvr>
                          <p:to>
                            <p:strVal val="visible"/>
                          </p:to>
                        </p:set>
                        <p:anim calcmode="lin" valueType="num">
                          <p:cBhvr additive="base">
                            <p:cTn dur="2500" fill="hold"/>
                            <p:tgtEl>
                              <p:spTgt spid="34"/>
                            </p:tgtEl>
                            <p:attrNameLst>
                              <p:attrName>ppt_x</p:attrName>
                            </p:attrNameLst>
                          </p:cBhvr>
                          <p:tavLst>
                            <p:tav tm="0">
                              <p:val>
                                <p:strVal val="0-#ppt_w/2"/>
                              </p:val>
                            </p:tav>
                            <p:tav tm="100000">
                              <p:val>
                                <p:strVal val="#ppt_x"/>
                              </p:val>
                            </p:tav>
                          </p:tavLst>
                        </p:anim>
                        <p:anim calcmode="lin" valueType="num">
                          <p:cBhvr additive="base">
                            <p:cTn dur="2500" fill="hold"/>
                            <p:tgtEl>
                              <p:spTgt spid="3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4"/>
                            </p:tgtEl>
                            <p:attrNameLst>
                              <p:attrName>style.visibility</p:attrName>
                            </p:attrNameLst>
                          </p:cBhvr>
                          <p:to>
                            <p:strVal val="visible"/>
                          </p:to>
                        </p:set>
                        <p:anim calcmode="lin" valueType="num">
                          <p:cBhvr additive="base">
                            <p:cTn dur="2500" fill="hold"/>
                            <p:tgtEl>
                              <p:spTgt spid="34"/>
                            </p:tgtEl>
                            <p:attrNameLst>
                              <p:attrName>ppt_x</p:attrName>
                            </p:attrNameLst>
                          </p:cBhvr>
                          <p:tavLst>
                            <p:tav tm="0">
                              <p:val>
                                <p:strVal val="0-#ppt_w/2"/>
                              </p:val>
                            </p:tav>
                            <p:tav tm="100000">
                              <p:val>
                                <p:strVal val="#ppt_x"/>
                              </p:val>
                            </p:tav>
                          </p:tavLst>
                        </p:anim>
                        <p:anim calcmode="lin" valueType="num">
                          <p:cBhvr additive="base">
                            <p:cTn dur="2500" fill="hold"/>
                            <p:tgtEl>
                              <p:spTgt spid="34"/>
                            </p:tgtEl>
                            <p:attrNameLst>
                              <p:attrName>ppt_y</p:attrName>
                            </p:attrNameLst>
                          </p:cBhvr>
                          <p:tavLst>
                            <p:tav tm="0">
                              <p:val>
                                <p:strVal val="#ppt_y"/>
                              </p:val>
                            </p:tav>
                            <p:tav tm="100000">
                              <p:val>
                                <p:strVal val="#ppt_y"/>
                              </p:val>
                            </p:tav>
                          </p:tavLst>
                        </p:anim>
                      </p:childTnLst>
                    </p:cTn>
                  </p:par>
                </p:tnLst>
              </p:tmpl>
            </p:tmplLst>
          </p:bldP>
          <p:bldP spid="35" grpId="0" build="p" animBg="1">
            <p:tmplLst>
              <p:tmpl>
                <p:tnLst>
                  <p:par>
                    <p:cTn presetID="2" presetClass="entr" presetSubtype="8" fill="hold" nodeType="withEffect">
                      <p:stCondLst>
                        <p:cond delay="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2000" fill="hold"/>
                            <p:tgtEl>
                              <p:spTgt spid="35"/>
                            </p:tgtEl>
                            <p:attrNameLst>
                              <p:attrName>ppt_x</p:attrName>
                            </p:attrNameLst>
                          </p:cBhvr>
                          <p:tavLst>
                            <p:tav tm="0">
                              <p:val>
                                <p:strVal val="0-#ppt_w/2"/>
                              </p:val>
                            </p:tav>
                            <p:tav tm="100000">
                              <p:val>
                                <p:strVal val="#ppt_x"/>
                              </p:val>
                            </p:tav>
                          </p:tavLst>
                        </p:anim>
                        <p:anim calcmode="lin" valueType="num">
                          <p:cBhvr additive="base">
                            <p:cTn dur="2000" fill="hold"/>
                            <p:tgtEl>
                              <p:spTgt spid="35"/>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2000" fill="hold"/>
                            <p:tgtEl>
                              <p:spTgt spid="35"/>
                            </p:tgtEl>
                            <p:attrNameLst>
                              <p:attrName>ppt_x</p:attrName>
                            </p:attrNameLst>
                          </p:cBhvr>
                          <p:tavLst>
                            <p:tav tm="0">
                              <p:val>
                                <p:strVal val="0-#ppt_w/2"/>
                              </p:val>
                            </p:tav>
                            <p:tav tm="100000">
                              <p:val>
                                <p:strVal val="#ppt_x"/>
                              </p:val>
                            </p:tav>
                          </p:tavLst>
                        </p:anim>
                        <p:anim calcmode="lin" valueType="num">
                          <p:cBhvr additive="base">
                            <p:cTn dur="2000" fill="hold"/>
                            <p:tgtEl>
                              <p:spTgt spid="35"/>
                            </p:tgtEl>
                            <p:attrNameLst>
                              <p:attrName>ppt_y</p:attrName>
                            </p:attrNameLst>
                          </p:cBhvr>
                          <p:tavLst>
                            <p:tav tm="0">
                              <p:val>
                                <p:strVal val="#ppt_y"/>
                              </p:val>
                            </p:tav>
                            <p:tav tm="100000">
                              <p:val>
                                <p:strVal val="#ppt_y"/>
                              </p:val>
                            </p:tav>
                          </p:tavLst>
                        </p:anim>
                      </p:childTnLst>
                    </p:cTn>
                  </p:par>
                </p:tnLst>
              </p:tmpl>
            </p:tmplLst>
          </p:bldP>
          <p:bldP spid="36" grpId="0" build="p" animBg="1">
            <p:tmplLst>
              <p:tmpl>
                <p:tnLst>
                  <p:par>
                    <p:cTn presetID="2" presetClass="entr" presetSubtype="8" fill="hold" nodeType="with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additive="base">
                            <p:cTn dur="2500" fill="hold"/>
                            <p:tgtEl>
                              <p:spTgt spid="36"/>
                            </p:tgtEl>
                            <p:attrNameLst>
                              <p:attrName>ppt_x</p:attrName>
                            </p:attrNameLst>
                          </p:cBhvr>
                          <p:tavLst>
                            <p:tav tm="0">
                              <p:val>
                                <p:strVal val="0-#ppt_w/2"/>
                              </p:val>
                            </p:tav>
                            <p:tav tm="100000">
                              <p:val>
                                <p:strVal val="#ppt_x"/>
                              </p:val>
                            </p:tav>
                          </p:tavLst>
                        </p:anim>
                        <p:anim calcmode="lin" valueType="num">
                          <p:cBhvr additive="base">
                            <p:cTn dur="2500" fill="hold"/>
                            <p:tgtEl>
                              <p:spTgt spid="3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additive="base">
                            <p:cTn dur="2500" fill="hold"/>
                            <p:tgtEl>
                              <p:spTgt spid="36"/>
                            </p:tgtEl>
                            <p:attrNameLst>
                              <p:attrName>ppt_x</p:attrName>
                            </p:attrNameLst>
                          </p:cBhvr>
                          <p:tavLst>
                            <p:tav tm="0">
                              <p:val>
                                <p:strVal val="0-#ppt_w/2"/>
                              </p:val>
                            </p:tav>
                            <p:tav tm="100000">
                              <p:val>
                                <p:strVal val="#ppt_x"/>
                              </p:val>
                            </p:tav>
                          </p:tavLst>
                        </p:anim>
                        <p:anim calcmode="lin" valueType="num">
                          <p:cBhvr additive="base">
                            <p:cTn dur="2500" fill="hold"/>
                            <p:tgtEl>
                              <p:spTgt spid="36"/>
                            </p:tgtEl>
                            <p:attrNameLst>
                              <p:attrName>ppt_y</p:attrName>
                            </p:attrNameLst>
                          </p:cBhvr>
                          <p:tavLst>
                            <p:tav tm="0">
                              <p:val>
                                <p:strVal val="#ppt_y"/>
                              </p:val>
                            </p:tav>
                            <p:tav tm="100000">
                              <p:val>
                                <p:strVal val="#ppt_y"/>
                              </p:val>
                            </p:tav>
                          </p:tavLst>
                        </p:anim>
                      </p:childTnLst>
                    </p:cTn>
                  </p:par>
                </p:tnLst>
              </p:tmpl>
            </p:tmplLst>
          </p:bldP>
          <p:bldP spid="37" grpId="0" build="p" animBg="1">
            <p:tmplLst>
              <p:tmpl>
                <p:tnLst>
                  <p:par>
                    <p:cTn presetID="2" presetClass="entr" presetSubtype="8" fill="hold" nodeType="withEffect">
                      <p:stCondLst>
                        <p:cond delay="0"/>
                      </p:stCondLst>
                      <p:childTnLst>
                        <p:set>
                          <p:cBhvr>
                            <p:cTn dur="1" fill="hold">
                              <p:stCondLst>
                                <p:cond delay="0"/>
                              </p:stCondLst>
                            </p:cTn>
                            <p:tgtEl>
                              <p:spTgt spid="37"/>
                            </p:tgtEl>
                            <p:attrNameLst>
                              <p:attrName>style.visibility</p:attrName>
                            </p:attrNameLst>
                          </p:cBhvr>
                          <p:to>
                            <p:strVal val="visible"/>
                          </p:to>
                        </p:set>
                        <p:anim calcmode="lin" valueType="num">
                          <p:cBhvr additive="base">
                            <p:cTn dur="2000" fill="hold"/>
                            <p:tgtEl>
                              <p:spTgt spid="37"/>
                            </p:tgtEl>
                            <p:attrNameLst>
                              <p:attrName>ppt_x</p:attrName>
                            </p:attrNameLst>
                          </p:cBhvr>
                          <p:tavLst>
                            <p:tav tm="0">
                              <p:val>
                                <p:strVal val="0-#ppt_w/2"/>
                              </p:val>
                            </p:tav>
                            <p:tav tm="100000">
                              <p:val>
                                <p:strVal val="#ppt_x"/>
                              </p:val>
                            </p:tav>
                          </p:tavLst>
                        </p:anim>
                        <p:anim calcmode="lin" valueType="num">
                          <p:cBhvr additive="base">
                            <p:cTn dur="2000" fill="hold"/>
                            <p:tgtEl>
                              <p:spTgt spid="3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7"/>
                            </p:tgtEl>
                            <p:attrNameLst>
                              <p:attrName>style.visibility</p:attrName>
                            </p:attrNameLst>
                          </p:cBhvr>
                          <p:to>
                            <p:strVal val="visible"/>
                          </p:to>
                        </p:set>
                        <p:anim calcmode="lin" valueType="num">
                          <p:cBhvr additive="base">
                            <p:cTn dur="2000" fill="hold"/>
                            <p:tgtEl>
                              <p:spTgt spid="37"/>
                            </p:tgtEl>
                            <p:attrNameLst>
                              <p:attrName>ppt_x</p:attrName>
                            </p:attrNameLst>
                          </p:cBhvr>
                          <p:tavLst>
                            <p:tav tm="0">
                              <p:val>
                                <p:strVal val="0-#ppt_w/2"/>
                              </p:val>
                            </p:tav>
                            <p:tav tm="100000">
                              <p:val>
                                <p:strVal val="#ppt_x"/>
                              </p:val>
                            </p:tav>
                          </p:tavLst>
                        </p:anim>
                        <p:anim calcmode="lin" valueType="num">
                          <p:cBhvr additive="base">
                            <p:cTn dur="2000" fill="hold"/>
                            <p:tgtEl>
                              <p:spTgt spid="37"/>
                            </p:tgtEl>
                            <p:attrNameLst>
                              <p:attrName>ppt_y</p:attrName>
                            </p:attrNameLst>
                          </p:cBhvr>
                          <p:tavLst>
                            <p:tav tm="0">
                              <p:val>
                                <p:strVal val="#ppt_y"/>
                              </p:val>
                            </p:tav>
                            <p:tav tm="100000">
                              <p:val>
                                <p:strVal val="#ppt_y"/>
                              </p:val>
                            </p:tav>
                          </p:tavLst>
                        </p:anim>
                      </p:childTnLst>
                    </p:cTn>
                  </p:par>
                </p:tnLst>
              </p:tmpl>
            </p:tmplLst>
          </p:bldP>
          <p:bldP spid="38" grpId="0" build="p" animBg="1">
            <p:tmplLst>
              <p:tmpl>
                <p:tnLst>
                  <p:par>
                    <p:cTn presetID="2" presetClass="entr" presetSubtype="8" fill="hold" nodeType="withEffect">
                      <p:stCondLst>
                        <p:cond delay="0"/>
                      </p:stCondLst>
                      <p:childTnLst>
                        <p:set>
                          <p:cBhvr>
                            <p:cTn dur="1" fill="hold">
                              <p:stCondLst>
                                <p:cond delay="0"/>
                              </p:stCondLst>
                            </p:cTn>
                            <p:tgtEl>
                              <p:spTgt spid="38"/>
                            </p:tgtEl>
                            <p:attrNameLst>
                              <p:attrName>style.visibility</p:attrName>
                            </p:attrNameLst>
                          </p:cBhvr>
                          <p:to>
                            <p:strVal val="visible"/>
                          </p:to>
                        </p:set>
                        <p:anim calcmode="lin" valueType="num">
                          <p:cBhvr additive="base">
                            <p:cTn dur="2000" fill="hold"/>
                            <p:tgtEl>
                              <p:spTgt spid="38"/>
                            </p:tgtEl>
                            <p:attrNameLst>
                              <p:attrName>ppt_x</p:attrName>
                            </p:attrNameLst>
                          </p:cBhvr>
                          <p:tavLst>
                            <p:tav tm="0">
                              <p:val>
                                <p:strVal val="0-#ppt_w/2"/>
                              </p:val>
                            </p:tav>
                            <p:tav tm="100000">
                              <p:val>
                                <p:strVal val="#ppt_x"/>
                              </p:val>
                            </p:tav>
                          </p:tavLst>
                        </p:anim>
                        <p:anim calcmode="lin" valueType="num">
                          <p:cBhvr additive="base">
                            <p:cTn dur="2000" fill="hold"/>
                            <p:tgtEl>
                              <p:spTgt spid="38"/>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8"/>
                            </p:tgtEl>
                            <p:attrNameLst>
                              <p:attrName>style.visibility</p:attrName>
                            </p:attrNameLst>
                          </p:cBhvr>
                          <p:to>
                            <p:strVal val="visible"/>
                          </p:to>
                        </p:set>
                        <p:anim calcmode="lin" valueType="num">
                          <p:cBhvr additive="base">
                            <p:cTn dur="2000" fill="hold"/>
                            <p:tgtEl>
                              <p:spTgt spid="38"/>
                            </p:tgtEl>
                            <p:attrNameLst>
                              <p:attrName>ppt_x</p:attrName>
                            </p:attrNameLst>
                          </p:cBhvr>
                          <p:tavLst>
                            <p:tav tm="0">
                              <p:val>
                                <p:strVal val="0-#ppt_w/2"/>
                              </p:val>
                            </p:tav>
                            <p:tav tm="100000">
                              <p:val>
                                <p:strVal val="#ppt_x"/>
                              </p:val>
                            </p:tav>
                          </p:tavLst>
                        </p:anim>
                        <p:anim calcmode="lin" valueType="num">
                          <p:cBhvr additive="base">
                            <p:cTn dur="2000" fill="hold"/>
                            <p:tgtEl>
                              <p:spTgt spid="38"/>
                            </p:tgtEl>
                            <p:attrNameLst>
                              <p:attrName>ppt_y</p:attrName>
                            </p:attrNameLst>
                          </p:cBhvr>
                          <p:tavLst>
                            <p:tav tm="0">
                              <p:val>
                                <p:strVal val="#ppt_y"/>
                              </p:val>
                            </p:tav>
                            <p:tav tm="100000">
                              <p:val>
                                <p:strVal val="#ppt_y"/>
                              </p:val>
                            </p:tav>
                          </p:tavLst>
                        </p:anim>
                      </p:childTnLst>
                    </p:cTn>
                  </p:par>
                </p:tnLst>
              </p:tmpl>
            </p:tmplLst>
          </p:bldP>
          <p:bldP spid="39" grpId="0" animBg="1"/>
        </p:bldLst>
      </p:timing>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long">
    <p:bg>
      <p:bgPr>
        <a:solidFill>
          <a:schemeClr val="accent3"/>
        </a:solidFill>
        <a:effectLst/>
      </p:bgPr>
    </p:bg>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B4CFEEF-548D-47E7-9F1D-3D21C520F8CF}"/>
              </a:ext>
            </a:extLst>
          </p:cNvPr>
          <p:cNvSpPr>
            <a:spLocks noGrp="1"/>
          </p:cNvSpPr>
          <p:nvPr>
            <p:ph type="sldNum" sz="quarter" idx="12"/>
          </p:nvPr>
        </p:nvSpPr>
        <p:spPr bwMode="gray"/>
        <p:txBody>
          <a:bodyPr/>
          <a:lstStyle>
            <a:lvl1pPr>
              <a:defRPr>
                <a:solidFill>
                  <a:schemeClr val="bg1"/>
                </a:solidFill>
              </a:defRPr>
            </a:lvl1pPr>
          </a:lstStyle>
          <a:p>
            <a:fld id="{3B140A39-527A-45CF-A911-B921024B92E6}" type="slidenum">
              <a:rPr lang="en-US" noProof="0" smtClean="0"/>
              <a:pPr/>
              <a:t>‹#›</a:t>
            </a:fld>
            <a:endParaRPr lang="en-US" noProof="0"/>
          </a:p>
        </p:txBody>
      </p:sp>
      <p:sp>
        <p:nvSpPr>
          <p:cNvPr id="11" name="Textplatzhalter 4">
            <a:extLst>
              <a:ext uri="{FF2B5EF4-FFF2-40B4-BE49-F238E27FC236}">
                <a16:creationId xmlns:a16="http://schemas.microsoft.com/office/drawing/2014/main" id="{86CA4880-D863-4A89-952F-36DED8AB5A21}"/>
              </a:ext>
            </a:extLst>
          </p:cNvPr>
          <p:cNvSpPr>
            <a:spLocks noGrp="1"/>
          </p:cNvSpPr>
          <p:nvPr>
            <p:ph type="body" sz="quarter" idx="13" hasCustomPrompt="1"/>
          </p:nvPr>
        </p:nvSpPr>
        <p:spPr bwMode="gray">
          <a:xfrm>
            <a:off x="1775520" y="2996960"/>
            <a:ext cx="576000" cy="72000"/>
          </a:xfrm>
          <a:prstGeom prst="roundRect">
            <a:avLst>
              <a:gd name="adj" fmla="val 50000"/>
            </a:avLst>
          </a:prstGeom>
          <a:solidFill>
            <a:schemeClr val="accent1"/>
          </a:solidFill>
        </p:spPr>
        <p:txBody>
          <a:bodyPr/>
          <a:lstStyle>
            <a:lvl1pPr marL="0" indent="0" algn="ctr">
              <a:spcBef>
                <a:spcPts val="0"/>
              </a:spcBef>
              <a:spcAft>
                <a:spcPts val="0"/>
              </a:spcAft>
              <a:buFont typeface="Arial" panose="020B0604020202020204" pitchFamily="34" charset="0"/>
              <a:buNone/>
              <a:defRPr sz="600">
                <a:solidFill>
                  <a:schemeClr val="accent3">
                    <a:alpha val="0"/>
                  </a:schemeClr>
                </a:solidFill>
              </a:defRPr>
            </a:lvl1pPr>
            <a:lvl2pPr marL="0" indent="0" algn="ctr">
              <a:spcBef>
                <a:spcPts val="0"/>
              </a:spcBef>
              <a:spcAft>
                <a:spcPts val="0"/>
              </a:spcAft>
              <a:buFont typeface="Arial" panose="020B0604020202020204" pitchFamily="34" charset="0"/>
              <a:buNone/>
              <a:defRPr sz="600">
                <a:solidFill>
                  <a:schemeClr val="accent3">
                    <a:alpha val="0"/>
                  </a:schemeClr>
                </a:solidFill>
              </a:defRPr>
            </a:lvl2pPr>
            <a:lvl3pPr marL="0" indent="0" algn="ctr">
              <a:spcBef>
                <a:spcPts val="0"/>
              </a:spcBef>
              <a:spcAft>
                <a:spcPts val="0"/>
              </a:spcAft>
              <a:buNone/>
              <a:defRPr sz="600">
                <a:solidFill>
                  <a:schemeClr val="accent3">
                    <a:alpha val="0"/>
                  </a:schemeClr>
                </a:solidFill>
              </a:defRPr>
            </a:lvl3pPr>
            <a:lvl4pPr marL="0" indent="0" algn="ctr">
              <a:spcBef>
                <a:spcPts val="0"/>
              </a:spcBef>
              <a:spcAft>
                <a:spcPts val="0"/>
              </a:spcAft>
              <a:buNone/>
              <a:defRPr sz="600">
                <a:solidFill>
                  <a:schemeClr val="accent3">
                    <a:alpha val="0"/>
                  </a:schemeClr>
                </a:solidFill>
              </a:defRPr>
            </a:lvl4pPr>
            <a:lvl5pPr marL="0" indent="0" algn="ctr">
              <a:spcBef>
                <a:spcPts val="0"/>
              </a:spcBef>
              <a:spcAft>
                <a:spcPts val="0"/>
              </a:spcAft>
              <a:buNone/>
              <a:defRPr sz="600">
                <a:solidFill>
                  <a:schemeClr val="accent3">
                    <a:alpha val="0"/>
                  </a:schemeClr>
                </a:solidFill>
              </a:defRPr>
            </a:lvl5pPr>
            <a:lvl6pPr marL="0" indent="0" algn="ctr">
              <a:spcBef>
                <a:spcPts val="0"/>
              </a:spcBef>
              <a:spcAft>
                <a:spcPts val="0"/>
              </a:spcAft>
              <a:buNone/>
              <a:defRPr sz="600">
                <a:solidFill>
                  <a:schemeClr val="accent3">
                    <a:alpha val="0"/>
                  </a:schemeClr>
                </a:solidFill>
              </a:defRPr>
            </a:lvl6pPr>
            <a:lvl7pPr marL="0" indent="0" algn="ctr">
              <a:spcBef>
                <a:spcPts val="0"/>
              </a:spcBef>
              <a:spcAft>
                <a:spcPts val="0"/>
              </a:spcAft>
              <a:buNone/>
              <a:defRPr sz="600">
                <a:solidFill>
                  <a:schemeClr val="accent3">
                    <a:alpha val="0"/>
                  </a:schemeClr>
                </a:solidFill>
              </a:defRPr>
            </a:lvl7pPr>
            <a:lvl8pPr marL="0" indent="0" algn="ctr">
              <a:spcBef>
                <a:spcPts val="0"/>
              </a:spcBef>
              <a:spcAft>
                <a:spcPts val="0"/>
              </a:spcAft>
              <a:buNone/>
              <a:defRPr sz="600">
                <a:solidFill>
                  <a:schemeClr val="accent3">
                    <a:alpha val="0"/>
                  </a:schemeClr>
                </a:solidFill>
              </a:defRPr>
            </a:lvl8pPr>
            <a:lvl9pPr marL="0" indent="0" algn="ctr">
              <a:spcBef>
                <a:spcPts val="0"/>
              </a:spcBef>
              <a:spcAft>
                <a:spcPts val="0"/>
              </a:spcAft>
              <a:buNone/>
              <a:defRPr sz="600">
                <a:solidFill>
                  <a:schemeClr val="accent3">
                    <a:alpha val="0"/>
                  </a:schemeClr>
                </a:solidFill>
              </a:defRPr>
            </a:lvl9pPr>
          </a:lstStyle>
          <a:p>
            <a:pPr lvl="0"/>
            <a:r>
              <a:rPr lang="en-US" noProof="0"/>
              <a:t>  </a:t>
            </a:r>
          </a:p>
        </p:txBody>
      </p:sp>
      <p:sp>
        <p:nvSpPr>
          <p:cNvPr id="12" name="Textplatzhalter 4">
            <a:extLst>
              <a:ext uri="{FF2B5EF4-FFF2-40B4-BE49-F238E27FC236}">
                <a16:creationId xmlns:a16="http://schemas.microsoft.com/office/drawing/2014/main" id="{CBE74266-8DAF-4BF1-A34D-95C6C7755009}"/>
              </a:ext>
            </a:extLst>
          </p:cNvPr>
          <p:cNvSpPr>
            <a:spLocks noGrp="1"/>
          </p:cNvSpPr>
          <p:nvPr>
            <p:ph type="body" sz="quarter" idx="14" hasCustomPrompt="1"/>
          </p:nvPr>
        </p:nvSpPr>
        <p:spPr bwMode="gray">
          <a:xfrm>
            <a:off x="2495600" y="2996960"/>
            <a:ext cx="576000" cy="72000"/>
          </a:xfrm>
          <a:prstGeom prst="roundRect">
            <a:avLst>
              <a:gd name="adj" fmla="val 50000"/>
            </a:avLst>
          </a:prstGeom>
          <a:solidFill>
            <a:schemeClr val="bg2"/>
          </a:solidFill>
        </p:spPr>
        <p:txBody>
          <a:bodyPr/>
          <a:lstStyle>
            <a:lvl1pPr marL="0" indent="0" algn="ctr">
              <a:spcBef>
                <a:spcPts val="0"/>
              </a:spcBef>
              <a:spcAft>
                <a:spcPts val="0"/>
              </a:spcAft>
              <a:buFont typeface="Arial" panose="020B0604020202020204" pitchFamily="34" charset="0"/>
              <a:buNone/>
              <a:defRPr sz="600">
                <a:solidFill>
                  <a:schemeClr val="accent3">
                    <a:alpha val="0"/>
                  </a:schemeClr>
                </a:solidFill>
              </a:defRPr>
            </a:lvl1pPr>
            <a:lvl2pPr marL="0" indent="0" algn="ctr">
              <a:spcBef>
                <a:spcPts val="0"/>
              </a:spcBef>
              <a:spcAft>
                <a:spcPts val="0"/>
              </a:spcAft>
              <a:buFont typeface="Arial" panose="020B0604020202020204" pitchFamily="34" charset="0"/>
              <a:buNone/>
              <a:defRPr sz="600">
                <a:solidFill>
                  <a:schemeClr val="accent3">
                    <a:alpha val="0"/>
                  </a:schemeClr>
                </a:solidFill>
              </a:defRPr>
            </a:lvl2pPr>
            <a:lvl3pPr marL="0" indent="0" algn="ctr">
              <a:spcBef>
                <a:spcPts val="0"/>
              </a:spcBef>
              <a:spcAft>
                <a:spcPts val="0"/>
              </a:spcAft>
              <a:buNone/>
              <a:defRPr sz="600">
                <a:solidFill>
                  <a:schemeClr val="accent3">
                    <a:alpha val="0"/>
                  </a:schemeClr>
                </a:solidFill>
              </a:defRPr>
            </a:lvl3pPr>
            <a:lvl4pPr marL="0" indent="0" algn="ctr">
              <a:spcBef>
                <a:spcPts val="0"/>
              </a:spcBef>
              <a:spcAft>
                <a:spcPts val="0"/>
              </a:spcAft>
              <a:buNone/>
              <a:defRPr sz="600">
                <a:solidFill>
                  <a:schemeClr val="accent3">
                    <a:alpha val="0"/>
                  </a:schemeClr>
                </a:solidFill>
              </a:defRPr>
            </a:lvl4pPr>
            <a:lvl5pPr marL="0" indent="0" algn="ctr">
              <a:spcBef>
                <a:spcPts val="0"/>
              </a:spcBef>
              <a:spcAft>
                <a:spcPts val="0"/>
              </a:spcAft>
              <a:buNone/>
              <a:defRPr sz="600">
                <a:solidFill>
                  <a:schemeClr val="accent3">
                    <a:alpha val="0"/>
                  </a:schemeClr>
                </a:solidFill>
              </a:defRPr>
            </a:lvl5pPr>
            <a:lvl6pPr marL="0" indent="0" algn="ctr">
              <a:spcBef>
                <a:spcPts val="0"/>
              </a:spcBef>
              <a:spcAft>
                <a:spcPts val="0"/>
              </a:spcAft>
              <a:buNone/>
              <a:defRPr sz="600">
                <a:solidFill>
                  <a:schemeClr val="accent3">
                    <a:alpha val="0"/>
                  </a:schemeClr>
                </a:solidFill>
              </a:defRPr>
            </a:lvl6pPr>
            <a:lvl7pPr marL="0" indent="0" algn="ctr">
              <a:spcBef>
                <a:spcPts val="0"/>
              </a:spcBef>
              <a:spcAft>
                <a:spcPts val="0"/>
              </a:spcAft>
              <a:buNone/>
              <a:defRPr sz="600">
                <a:solidFill>
                  <a:schemeClr val="accent3">
                    <a:alpha val="0"/>
                  </a:schemeClr>
                </a:solidFill>
              </a:defRPr>
            </a:lvl7pPr>
            <a:lvl8pPr marL="0" indent="0" algn="ctr">
              <a:spcBef>
                <a:spcPts val="0"/>
              </a:spcBef>
              <a:spcAft>
                <a:spcPts val="0"/>
              </a:spcAft>
              <a:buNone/>
              <a:defRPr sz="600">
                <a:solidFill>
                  <a:schemeClr val="accent3">
                    <a:alpha val="0"/>
                  </a:schemeClr>
                </a:solidFill>
              </a:defRPr>
            </a:lvl8pPr>
            <a:lvl9pPr marL="0" indent="0" algn="ctr">
              <a:spcBef>
                <a:spcPts val="0"/>
              </a:spcBef>
              <a:spcAft>
                <a:spcPts val="0"/>
              </a:spcAft>
              <a:buNone/>
              <a:defRPr sz="600">
                <a:solidFill>
                  <a:schemeClr val="accent3">
                    <a:alpha val="0"/>
                  </a:schemeClr>
                </a:solidFill>
              </a:defRPr>
            </a:lvl9pPr>
          </a:lstStyle>
          <a:p>
            <a:pPr lvl="0"/>
            <a:r>
              <a:rPr lang="en-US" noProof="0"/>
              <a:t>  </a:t>
            </a:r>
          </a:p>
        </p:txBody>
      </p:sp>
      <p:sp>
        <p:nvSpPr>
          <p:cNvPr id="13" name="Textplatzhalter 4">
            <a:extLst>
              <a:ext uri="{FF2B5EF4-FFF2-40B4-BE49-F238E27FC236}">
                <a16:creationId xmlns:a16="http://schemas.microsoft.com/office/drawing/2014/main" id="{F419869B-D047-4ED8-AD10-1F655C3D7744}"/>
              </a:ext>
            </a:extLst>
          </p:cNvPr>
          <p:cNvSpPr>
            <a:spLocks noGrp="1"/>
          </p:cNvSpPr>
          <p:nvPr>
            <p:ph type="body" sz="quarter" idx="15" hasCustomPrompt="1"/>
          </p:nvPr>
        </p:nvSpPr>
        <p:spPr bwMode="gray">
          <a:xfrm>
            <a:off x="3215680" y="2996960"/>
            <a:ext cx="576000" cy="72000"/>
          </a:xfrm>
          <a:prstGeom prst="roundRect">
            <a:avLst>
              <a:gd name="adj" fmla="val 50000"/>
            </a:avLst>
          </a:prstGeom>
          <a:solidFill>
            <a:schemeClr val="bg2"/>
          </a:solidFill>
        </p:spPr>
        <p:txBody>
          <a:bodyPr/>
          <a:lstStyle>
            <a:lvl1pPr marL="0" indent="0" algn="ctr">
              <a:spcBef>
                <a:spcPts val="0"/>
              </a:spcBef>
              <a:spcAft>
                <a:spcPts val="0"/>
              </a:spcAft>
              <a:buFont typeface="Arial" panose="020B0604020202020204" pitchFamily="34" charset="0"/>
              <a:buNone/>
              <a:defRPr sz="600">
                <a:solidFill>
                  <a:schemeClr val="accent3">
                    <a:alpha val="0"/>
                  </a:schemeClr>
                </a:solidFill>
              </a:defRPr>
            </a:lvl1pPr>
            <a:lvl2pPr marL="0" indent="0" algn="ctr">
              <a:spcBef>
                <a:spcPts val="0"/>
              </a:spcBef>
              <a:spcAft>
                <a:spcPts val="0"/>
              </a:spcAft>
              <a:buFont typeface="Arial" panose="020B0604020202020204" pitchFamily="34" charset="0"/>
              <a:buNone/>
              <a:defRPr sz="600">
                <a:solidFill>
                  <a:schemeClr val="accent3">
                    <a:alpha val="0"/>
                  </a:schemeClr>
                </a:solidFill>
              </a:defRPr>
            </a:lvl2pPr>
            <a:lvl3pPr marL="0" indent="0" algn="ctr">
              <a:spcBef>
                <a:spcPts val="0"/>
              </a:spcBef>
              <a:spcAft>
                <a:spcPts val="0"/>
              </a:spcAft>
              <a:buNone/>
              <a:defRPr sz="600">
                <a:solidFill>
                  <a:schemeClr val="accent3">
                    <a:alpha val="0"/>
                  </a:schemeClr>
                </a:solidFill>
              </a:defRPr>
            </a:lvl3pPr>
            <a:lvl4pPr marL="0" indent="0" algn="ctr">
              <a:spcBef>
                <a:spcPts val="0"/>
              </a:spcBef>
              <a:spcAft>
                <a:spcPts val="0"/>
              </a:spcAft>
              <a:buNone/>
              <a:defRPr sz="600">
                <a:solidFill>
                  <a:schemeClr val="accent3">
                    <a:alpha val="0"/>
                  </a:schemeClr>
                </a:solidFill>
              </a:defRPr>
            </a:lvl4pPr>
            <a:lvl5pPr marL="0" indent="0" algn="ctr">
              <a:spcBef>
                <a:spcPts val="0"/>
              </a:spcBef>
              <a:spcAft>
                <a:spcPts val="0"/>
              </a:spcAft>
              <a:buNone/>
              <a:defRPr sz="600">
                <a:solidFill>
                  <a:schemeClr val="accent3">
                    <a:alpha val="0"/>
                  </a:schemeClr>
                </a:solidFill>
              </a:defRPr>
            </a:lvl5pPr>
            <a:lvl6pPr marL="0" indent="0" algn="ctr">
              <a:spcBef>
                <a:spcPts val="0"/>
              </a:spcBef>
              <a:spcAft>
                <a:spcPts val="0"/>
              </a:spcAft>
              <a:buNone/>
              <a:defRPr sz="600">
                <a:solidFill>
                  <a:schemeClr val="accent3">
                    <a:alpha val="0"/>
                  </a:schemeClr>
                </a:solidFill>
              </a:defRPr>
            </a:lvl6pPr>
            <a:lvl7pPr marL="0" indent="0" algn="ctr">
              <a:spcBef>
                <a:spcPts val="0"/>
              </a:spcBef>
              <a:spcAft>
                <a:spcPts val="0"/>
              </a:spcAft>
              <a:buNone/>
              <a:defRPr sz="600">
                <a:solidFill>
                  <a:schemeClr val="accent3">
                    <a:alpha val="0"/>
                  </a:schemeClr>
                </a:solidFill>
              </a:defRPr>
            </a:lvl7pPr>
            <a:lvl8pPr marL="0" indent="0" algn="ctr">
              <a:spcBef>
                <a:spcPts val="0"/>
              </a:spcBef>
              <a:spcAft>
                <a:spcPts val="0"/>
              </a:spcAft>
              <a:buNone/>
              <a:defRPr sz="600">
                <a:solidFill>
                  <a:schemeClr val="accent3">
                    <a:alpha val="0"/>
                  </a:schemeClr>
                </a:solidFill>
              </a:defRPr>
            </a:lvl8pPr>
            <a:lvl9pPr marL="0" indent="0" algn="ctr">
              <a:spcBef>
                <a:spcPts val="0"/>
              </a:spcBef>
              <a:spcAft>
                <a:spcPts val="0"/>
              </a:spcAft>
              <a:buNone/>
              <a:defRPr sz="600">
                <a:solidFill>
                  <a:schemeClr val="accent3">
                    <a:alpha val="0"/>
                  </a:schemeClr>
                </a:solidFill>
              </a:defRPr>
            </a:lvl9pPr>
          </a:lstStyle>
          <a:p>
            <a:pPr lvl="0"/>
            <a:r>
              <a:rPr lang="en-US" noProof="0"/>
              <a:t>  </a:t>
            </a:r>
          </a:p>
        </p:txBody>
      </p:sp>
      <p:sp>
        <p:nvSpPr>
          <p:cNvPr id="14" name="Textplatzhalter 7">
            <a:extLst>
              <a:ext uri="{FF2B5EF4-FFF2-40B4-BE49-F238E27FC236}">
                <a16:creationId xmlns:a16="http://schemas.microsoft.com/office/drawing/2014/main" id="{15A88678-8856-46EF-9C57-E16216A1A37E}"/>
              </a:ext>
            </a:extLst>
          </p:cNvPr>
          <p:cNvSpPr>
            <a:spLocks noGrp="1"/>
          </p:cNvSpPr>
          <p:nvPr>
            <p:ph type="body" sz="quarter" idx="16" hasCustomPrompt="1"/>
          </p:nvPr>
        </p:nvSpPr>
        <p:spPr bwMode="black">
          <a:xfrm>
            <a:off x="1775719" y="1628800"/>
            <a:ext cx="8640000" cy="1152000"/>
          </a:xfrm>
        </p:spPr>
        <p:txBody>
          <a:bodyPr anchor="b"/>
          <a:lstStyle>
            <a:lvl1pPr marL="0" indent="0">
              <a:buFont typeface="Arial" panose="020B0604020202020204" pitchFamily="34" charset="0"/>
              <a:buNone/>
              <a:defRPr sz="3600" b="1">
                <a:solidFill>
                  <a:schemeClr val="bg1"/>
                </a:solidFill>
              </a:defRPr>
            </a:lvl1pPr>
            <a:lvl2pPr marL="0" indent="0">
              <a:buFont typeface="Arial" panose="020B0604020202020204" pitchFamily="34" charset="0"/>
              <a:buNone/>
              <a:defRPr sz="3600" b="1">
                <a:solidFill>
                  <a:schemeClr val="bg1"/>
                </a:solidFill>
              </a:defRPr>
            </a:lvl2pPr>
            <a:lvl3pPr marL="0" indent="0">
              <a:buNone/>
              <a:defRPr sz="3600" b="1">
                <a:solidFill>
                  <a:schemeClr val="bg1"/>
                </a:solidFill>
              </a:defRPr>
            </a:lvl3pPr>
            <a:lvl4pPr marL="0" indent="0">
              <a:buNone/>
              <a:defRPr sz="3600" b="1">
                <a:solidFill>
                  <a:schemeClr val="bg1"/>
                </a:solidFill>
              </a:defRPr>
            </a:lvl4pPr>
            <a:lvl5pPr marL="0" indent="0">
              <a:buNone/>
              <a:defRPr sz="3600" b="1">
                <a:solidFill>
                  <a:schemeClr val="bg1"/>
                </a:solidFill>
              </a:defRPr>
            </a:lvl5pPr>
            <a:lvl6pPr marL="0" indent="0">
              <a:buNone/>
              <a:defRPr sz="3600" b="1">
                <a:solidFill>
                  <a:schemeClr val="bg1"/>
                </a:solidFill>
              </a:defRPr>
            </a:lvl6pPr>
            <a:lvl7pPr marL="0" indent="0">
              <a:buNone/>
              <a:defRPr sz="3600" b="1">
                <a:solidFill>
                  <a:schemeClr val="bg1"/>
                </a:solidFill>
              </a:defRPr>
            </a:lvl7pPr>
            <a:lvl8pPr marL="0" indent="0">
              <a:buNone/>
              <a:defRPr sz="3600" b="1">
                <a:solidFill>
                  <a:schemeClr val="bg1"/>
                </a:solidFill>
              </a:defRPr>
            </a:lvl8pPr>
            <a:lvl9pPr marL="0" indent="0">
              <a:buNone/>
              <a:defRPr sz="3600" b="1">
                <a:solidFill>
                  <a:schemeClr val="bg1"/>
                </a:solidFill>
              </a:defRPr>
            </a:lvl9pPr>
          </a:lstStyle>
          <a:p>
            <a:pPr lvl="0"/>
            <a:r>
              <a:rPr lang="en-US"/>
              <a:t>Click to add the first Agenda point </a:t>
            </a:r>
          </a:p>
        </p:txBody>
      </p:sp>
      <p:sp>
        <p:nvSpPr>
          <p:cNvPr id="15" name="Textplatzhalter 14">
            <a:extLst>
              <a:ext uri="{FF2B5EF4-FFF2-40B4-BE49-F238E27FC236}">
                <a16:creationId xmlns:a16="http://schemas.microsoft.com/office/drawing/2014/main" id="{1DFD32A2-7C7E-4B3E-B29B-C7DDF334B26E}"/>
              </a:ext>
            </a:extLst>
          </p:cNvPr>
          <p:cNvSpPr>
            <a:spLocks noGrp="1"/>
          </p:cNvSpPr>
          <p:nvPr>
            <p:ph type="body" sz="quarter" idx="17" hasCustomPrompt="1"/>
          </p:nvPr>
        </p:nvSpPr>
        <p:spPr bwMode="black">
          <a:xfrm>
            <a:off x="1775719" y="3285112"/>
            <a:ext cx="8640000" cy="1152000"/>
          </a:xfrm>
        </p:spPr>
        <p:txBody>
          <a:bodyPr/>
          <a:lstStyle>
            <a:lvl1pPr marL="0" indent="0">
              <a:spcBef>
                <a:spcPts val="0"/>
              </a:spcBef>
              <a:spcAft>
                <a:spcPts val="0"/>
              </a:spcAft>
              <a:buFont typeface="Arial" panose="020B0604020202020204" pitchFamily="34" charset="0"/>
              <a:buNone/>
              <a:defRPr b="0">
                <a:solidFill>
                  <a:schemeClr val="bg1"/>
                </a:solidFill>
              </a:defRPr>
            </a:lvl1pPr>
            <a:lvl2pPr marL="0" indent="0">
              <a:spcBef>
                <a:spcPts val="0"/>
              </a:spcBef>
              <a:spcAft>
                <a:spcPts val="0"/>
              </a:spcAft>
              <a:buFont typeface="Arial" panose="020B0604020202020204" pitchFamily="34" charset="0"/>
              <a:buNone/>
              <a:defRPr b="0">
                <a:solidFill>
                  <a:schemeClr val="bg1"/>
                </a:solidFill>
              </a:defRPr>
            </a:lvl2pPr>
            <a:lvl3pPr marL="0" indent="0">
              <a:spcBef>
                <a:spcPts val="0"/>
              </a:spcBef>
              <a:spcAft>
                <a:spcPts val="0"/>
              </a:spcAft>
              <a:buNone/>
              <a:defRPr b="0">
                <a:solidFill>
                  <a:schemeClr val="bg1"/>
                </a:solidFill>
              </a:defRPr>
            </a:lvl3pPr>
            <a:lvl4pPr marL="0" indent="0">
              <a:spcBef>
                <a:spcPts val="0"/>
              </a:spcBef>
              <a:spcAft>
                <a:spcPts val="0"/>
              </a:spcAft>
              <a:buNone/>
              <a:defRPr b="0">
                <a:solidFill>
                  <a:schemeClr val="bg1"/>
                </a:solidFill>
              </a:defRPr>
            </a:lvl4pPr>
            <a:lvl5pPr marL="0" indent="0">
              <a:spcBef>
                <a:spcPts val="0"/>
              </a:spcBef>
              <a:spcAft>
                <a:spcPts val="0"/>
              </a:spcAft>
              <a:buNone/>
              <a:defRPr b="0">
                <a:solidFill>
                  <a:schemeClr val="bg1"/>
                </a:solidFill>
              </a:defRPr>
            </a:lvl5pPr>
            <a:lvl6pPr marL="0" indent="0">
              <a:spcBef>
                <a:spcPts val="0"/>
              </a:spcBef>
              <a:spcAft>
                <a:spcPts val="0"/>
              </a:spcAft>
              <a:buNone/>
              <a:defRPr b="0">
                <a:solidFill>
                  <a:schemeClr val="bg1"/>
                </a:solidFill>
              </a:defRPr>
            </a:lvl6pPr>
            <a:lvl7pPr marL="0" indent="0">
              <a:spcBef>
                <a:spcPts val="0"/>
              </a:spcBef>
              <a:spcAft>
                <a:spcPts val="0"/>
              </a:spcAft>
              <a:buNone/>
              <a:defRPr b="0">
                <a:solidFill>
                  <a:schemeClr val="bg1"/>
                </a:solidFill>
              </a:defRPr>
            </a:lvl7pPr>
            <a:lvl8pPr marL="0" indent="0">
              <a:spcBef>
                <a:spcPts val="0"/>
              </a:spcBef>
              <a:spcAft>
                <a:spcPts val="0"/>
              </a:spcAft>
              <a:buNone/>
              <a:defRPr b="0">
                <a:solidFill>
                  <a:schemeClr val="bg1"/>
                </a:solidFill>
              </a:defRPr>
            </a:lvl8pPr>
            <a:lvl9pPr marL="0" indent="0">
              <a:spcBef>
                <a:spcPts val="0"/>
              </a:spcBef>
              <a:spcAft>
                <a:spcPts val="0"/>
              </a:spcAft>
              <a:buNone/>
              <a:defRPr b="0">
                <a:solidFill>
                  <a:schemeClr val="bg1"/>
                </a:solidFill>
              </a:defRPr>
            </a:lvl9pPr>
          </a:lstStyle>
          <a:p>
            <a:pPr lvl="0"/>
            <a:r>
              <a:rPr lang="en-US" noProof="0"/>
              <a:t>Click to add a text</a:t>
            </a:r>
          </a:p>
        </p:txBody>
      </p:sp>
      <p:sp>
        <p:nvSpPr>
          <p:cNvPr id="30" name="Textplatzhalter 5">
            <a:extLst>
              <a:ext uri="{FF2B5EF4-FFF2-40B4-BE49-F238E27FC236}">
                <a16:creationId xmlns:a16="http://schemas.microsoft.com/office/drawing/2014/main" id="{19B3CC31-8704-4A35-B762-85CFD169C739}"/>
              </a:ext>
            </a:extLst>
          </p:cNvPr>
          <p:cNvSpPr>
            <a:spLocks noGrp="1"/>
          </p:cNvSpPr>
          <p:nvPr>
            <p:ph type="body" sz="quarter" idx="10" hasCustomPrompt="1"/>
          </p:nvPr>
        </p:nvSpPr>
        <p:spPr bwMode="gray">
          <a:xfrm>
            <a:off x="0" y="4221163"/>
            <a:ext cx="12192000" cy="2636837"/>
          </a:xfrm>
          <a:solidFill>
            <a:schemeClr val="accent1">
              <a:alpha val="20000"/>
            </a:schemeClr>
          </a:solidFill>
        </p:spPr>
        <p:txBody>
          <a:bodyPr/>
          <a:lstStyle>
            <a:lvl1pPr>
              <a:defRPr/>
            </a:lvl1pPr>
          </a:lstStyle>
          <a:p>
            <a:pPr lvl="0"/>
            <a:r>
              <a:rPr lang="en-US"/>
              <a:t> </a:t>
            </a:r>
          </a:p>
        </p:txBody>
      </p:sp>
      <p:sp>
        <p:nvSpPr>
          <p:cNvPr id="31" name="Textplatzhalter 30">
            <a:extLst>
              <a:ext uri="{FF2B5EF4-FFF2-40B4-BE49-F238E27FC236}">
                <a16:creationId xmlns:a16="http://schemas.microsoft.com/office/drawing/2014/main" id="{7F52F64D-54C6-4875-B55F-CD3DC5DC2671}"/>
              </a:ext>
            </a:extLst>
          </p:cNvPr>
          <p:cNvSpPr>
            <a:spLocks noGrp="1"/>
          </p:cNvSpPr>
          <p:nvPr>
            <p:ph type="body" sz="quarter" idx="11" hasCustomPrompt="1"/>
          </p:nvPr>
        </p:nvSpPr>
        <p:spPr bwMode="gray">
          <a:xfrm flipH="1">
            <a:off x="0" y="4221163"/>
            <a:ext cx="12192000" cy="2636837"/>
          </a:xfrm>
          <a:custGeom>
            <a:avLst/>
            <a:gdLst>
              <a:gd name="connsiteX0" fmla="*/ 0 w 12192000"/>
              <a:gd name="connsiteY0" fmla="*/ 0 h 2636837"/>
              <a:gd name="connsiteX1" fmla="*/ 11864200 w 12192000"/>
              <a:gd name="connsiteY1" fmla="*/ 0 h 2636837"/>
              <a:gd name="connsiteX2" fmla="*/ 12192000 w 12192000"/>
              <a:gd name="connsiteY2" fmla="*/ 408191 h 2636837"/>
              <a:gd name="connsiteX3" fmla="*/ 12192000 w 12192000"/>
              <a:gd name="connsiteY3" fmla="*/ 2636837 h 2636837"/>
              <a:gd name="connsiteX4" fmla="*/ 0 w 12192000"/>
              <a:gd name="connsiteY4" fmla="*/ 2636837 h 2636837"/>
              <a:gd name="connsiteX0" fmla="*/ 0 w 12192000"/>
              <a:gd name="connsiteY0" fmla="*/ 0 h 2636837"/>
              <a:gd name="connsiteX1" fmla="*/ 12192000 w 12192000"/>
              <a:gd name="connsiteY1" fmla="*/ 408191 h 2636837"/>
              <a:gd name="connsiteX2" fmla="*/ 12192000 w 12192000"/>
              <a:gd name="connsiteY2" fmla="*/ 2636837 h 2636837"/>
              <a:gd name="connsiteX3" fmla="*/ 0 w 12192000"/>
              <a:gd name="connsiteY3" fmla="*/ 2636837 h 2636837"/>
              <a:gd name="connsiteX4" fmla="*/ 0 w 12192000"/>
              <a:gd name="connsiteY4" fmla="*/ 0 h 2636837"/>
              <a:gd name="connsiteX0" fmla="*/ 0 w 12192000"/>
              <a:gd name="connsiteY0" fmla="*/ 0 h 2636837"/>
              <a:gd name="connsiteX1" fmla="*/ 12186024 w 12192000"/>
              <a:gd name="connsiteY1" fmla="*/ 862402 h 2636837"/>
              <a:gd name="connsiteX2" fmla="*/ 12192000 w 12192000"/>
              <a:gd name="connsiteY2" fmla="*/ 2636837 h 2636837"/>
              <a:gd name="connsiteX3" fmla="*/ 0 w 12192000"/>
              <a:gd name="connsiteY3" fmla="*/ 2636837 h 2636837"/>
              <a:gd name="connsiteX4" fmla="*/ 0 w 12192000"/>
              <a:gd name="connsiteY4" fmla="*/ 0 h 263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636837">
                <a:moveTo>
                  <a:pt x="0" y="0"/>
                </a:moveTo>
                <a:lnTo>
                  <a:pt x="12186024" y="862402"/>
                </a:lnTo>
                <a:lnTo>
                  <a:pt x="12192000" y="2636837"/>
                </a:lnTo>
                <a:lnTo>
                  <a:pt x="0" y="2636837"/>
                </a:lnTo>
                <a:lnTo>
                  <a:pt x="0" y="0"/>
                </a:lnTo>
                <a:close/>
              </a:path>
            </a:pathLst>
          </a:custGeom>
          <a:solidFill>
            <a:schemeClr val="accent1">
              <a:alpha val="40000"/>
            </a:schemeClr>
          </a:solidFill>
        </p:spPr>
        <p:txBody>
          <a:bodyPr wrap="square">
            <a:noAutofit/>
          </a:bodyPr>
          <a:lstStyle>
            <a:lvl1pPr>
              <a:defRPr/>
            </a:lvl1pPr>
          </a:lstStyle>
          <a:p>
            <a:pPr lvl="0"/>
            <a:r>
              <a:rPr lang="en-US"/>
              <a:t> </a:t>
            </a:r>
          </a:p>
        </p:txBody>
      </p:sp>
      <p:sp>
        <p:nvSpPr>
          <p:cNvPr id="32" name="Textplatzhalter 5">
            <a:extLst>
              <a:ext uri="{FF2B5EF4-FFF2-40B4-BE49-F238E27FC236}">
                <a16:creationId xmlns:a16="http://schemas.microsoft.com/office/drawing/2014/main" id="{CFFCF637-90A9-46B5-94EF-7389915673D0}"/>
              </a:ext>
            </a:extLst>
          </p:cNvPr>
          <p:cNvSpPr>
            <a:spLocks noGrp="1"/>
          </p:cNvSpPr>
          <p:nvPr>
            <p:ph type="body" sz="quarter" idx="23" hasCustomPrompt="1"/>
          </p:nvPr>
        </p:nvSpPr>
        <p:spPr bwMode="gray">
          <a:xfrm>
            <a:off x="0" y="5085184"/>
            <a:ext cx="12192000" cy="1772816"/>
          </a:xfrm>
          <a:solidFill>
            <a:schemeClr val="accent1">
              <a:alpha val="60000"/>
            </a:schemeClr>
          </a:solidFill>
        </p:spPr>
        <p:txBody>
          <a:bodyPr/>
          <a:lstStyle>
            <a:lvl1pPr>
              <a:defRPr/>
            </a:lvl1pPr>
          </a:lstStyle>
          <a:p>
            <a:pPr lvl="0"/>
            <a:r>
              <a:rPr lang="en-US"/>
              <a:t> </a:t>
            </a:r>
          </a:p>
        </p:txBody>
      </p:sp>
      <p:sp>
        <p:nvSpPr>
          <p:cNvPr id="33" name="Textplatzhalter 32">
            <a:extLst>
              <a:ext uri="{FF2B5EF4-FFF2-40B4-BE49-F238E27FC236}">
                <a16:creationId xmlns:a16="http://schemas.microsoft.com/office/drawing/2014/main" id="{27BEF6F6-A3AE-4726-86D5-3CEE987F3856}"/>
              </a:ext>
            </a:extLst>
          </p:cNvPr>
          <p:cNvSpPr>
            <a:spLocks noGrp="1"/>
          </p:cNvSpPr>
          <p:nvPr>
            <p:ph type="body" sz="quarter" idx="24" hasCustomPrompt="1"/>
          </p:nvPr>
        </p:nvSpPr>
        <p:spPr bwMode="gray">
          <a:xfrm flipH="1">
            <a:off x="0" y="5085184"/>
            <a:ext cx="12192000" cy="1772816"/>
          </a:xfrm>
          <a:custGeom>
            <a:avLst/>
            <a:gdLst>
              <a:gd name="connsiteX0" fmla="*/ 0 w 12192000"/>
              <a:gd name="connsiteY0" fmla="*/ 0 h 2636837"/>
              <a:gd name="connsiteX1" fmla="*/ 11864200 w 12192000"/>
              <a:gd name="connsiteY1" fmla="*/ 0 h 2636837"/>
              <a:gd name="connsiteX2" fmla="*/ 12192000 w 12192000"/>
              <a:gd name="connsiteY2" fmla="*/ 408191 h 2636837"/>
              <a:gd name="connsiteX3" fmla="*/ 12192000 w 12192000"/>
              <a:gd name="connsiteY3" fmla="*/ 2636837 h 2636837"/>
              <a:gd name="connsiteX4" fmla="*/ 0 w 12192000"/>
              <a:gd name="connsiteY4" fmla="*/ 2636837 h 2636837"/>
              <a:gd name="connsiteX0" fmla="*/ 0 w 12192000"/>
              <a:gd name="connsiteY0" fmla="*/ 0 h 2636837"/>
              <a:gd name="connsiteX1" fmla="*/ 12192000 w 12192000"/>
              <a:gd name="connsiteY1" fmla="*/ 408191 h 2636837"/>
              <a:gd name="connsiteX2" fmla="*/ 12192000 w 12192000"/>
              <a:gd name="connsiteY2" fmla="*/ 2636837 h 2636837"/>
              <a:gd name="connsiteX3" fmla="*/ 0 w 12192000"/>
              <a:gd name="connsiteY3" fmla="*/ 2636837 h 2636837"/>
              <a:gd name="connsiteX4" fmla="*/ 0 w 12192000"/>
              <a:gd name="connsiteY4" fmla="*/ 0 h 2636837"/>
              <a:gd name="connsiteX0" fmla="*/ 0 w 12192000"/>
              <a:gd name="connsiteY0" fmla="*/ 0 h 2636837"/>
              <a:gd name="connsiteX1" fmla="*/ 12186024 w 12192000"/>
              <a:gd name="connsiteY1" fmla="*/ 862402 h 2636837"/>
              <a:gd name="connsiteX2" fmla="*/ 12192000 w 12192000"/>
              <a:gd name="connsiteY2" fmla="*/ 2636837 h 2636837"/>
              <a:gd name="connsiteX3" fmla="*/ 0 w 12192000"/>
              <a:gd name="connsiteY3" fmla="*/ 2636837 h 2636837"/>
              <a:gd name="connsiteX4" fmla="*/ 0 w 12192000"/>
              <a:gd name="connsiteY4" fmla="*/ 0 h 2636837"/>
              <a:gd name="connsiteX0" fmla="*/ 0 w 12192000"/>
              <a:gd name="connsiteY0" fmla="*/ 0 h 2636837"/>
              <a:gd name="connsiteX1" fmla="*/ 12192000 w 12192000"/>
              <a:gd name="connsiteY1" fmla="*/ 2636837 h 2636837"/>
              <a:gd name="connsiteX2" fmla="*/ 0 w 12192000"/>
              <a:gd name="connsiteY2" fmla="*/ 2636837 h 2636837"/>
              <a:gd name="connsiteX3" fmla="*/ 0 w 12192000"/>
              <a:gd name="connsiteY3" fmla="*/ 0 h 2636837"/>
            </a:gdLst>
            <a:ahLst/>
            <a:cxnLst>
              <a:cxn ang="0">
                <a:pos x="connsiteX0" y="connsiteY0"/>
              </a:cxn>
              <a:cxn ang="0">
                <a:pos x="connsiteX1" y="connsiteY1"/>
              </a:cxn>
              <a:cxn ang="0">
                <a:pos x="connsiteX2" y="connsiteY2"/>
              </a:cxn>
              <a:cxn ang="0">
                <a:pos x="connsiteX3" y="connsiteY3"/>
              </a:cxn>
            </a:cxnLst>
            <a:rect l="l" t="t" r="r" b="b"/>
            <a:pathLst>
              <a:path w="12192000" h="2636837">
                <a:moveTo>
                  <a:pt x="0" y="0"/>
                </a:moveTo>
                <a:lnTo>
                  <a:pt x="12192000" y="2636837"/>
                </a:lnTo>
                <a:lnTo>
                  <a:pt x="0" y="2636837"/>
                </a:lnTo>
                <a:lnTo>
                  <a:pt x="0" y="0"/>
                </a:lnTo>
                <a:close/>
              </a:path>
            </a:pathLst>
          </a:custGeom>
          <a:solidFill>
            <a:schemeClr val="accent1">
              <a:alpha val="80000"/>
            </a:schemeClr>
          </a:solidFill>
        </p:spPr>
        <p:txBody>
          <a:bodyPr wrap="square">
            <a:noAutofit/>
          </a:bodyPr>
          <a:lstStyle>
            <a:lvl1pPr>
              <a:defRPr/>
            </a:lvl1pPr>
          </a:lstStyle>
          <a:p>
            <a:pPr lvl="0"/>
            <a:r>
              <a:rPr lang="en-US"/>
              <a:t> </a:t>
            </a:r>
          </a:p>
        </p:txBody>
      </p:sp>
      <p:sp>
        <p:nvSpPr>
          <p:cNvPr id="24" name="Rechteck 23">
            <a:extLst>
              <a:ext uri="{FF2B5EF4-FFF2-40B4-BE49-F238E27FC236}">
                <a16:creationId xmlns:a16="http://schemas.microsoft.com/office/drawing/2014/main" id="{632DF878-72A5-41F8-9321-2DD11800901C}"/>
              </a:ext>
            </a:extLst>
          </p:cNvPr>
          <p:cNvSpPr/>
          <p:nvPr userDrawn="1"/>
        </p:nvSpPr>
        <p:spPr bwMode="gray">
          <a:xfrm>
            <a:off x="12316071" y="-1"/>
            <a:ext cx="1268761" cy="1124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a:solidFill>
                  <a:schemeClr val="tx1"/>
                </a:solidFill>
              </a:rPr>
              <a:t>Please adjust the green marker to the particular agenda-point.</a:t>
            </a:r>
          </a:p>
        </p:txBody>
      </p:sp>
      <p:sp>
        <p:nvSpPr>
          <p:cNvPr id="34" name="Textplatzhalter 4">
            <a:extLst>
              <a:ext uri="{FF2B5EF4-FFF2-40B4-BE49-F238E27FC236}">
                <a16:creationId xmlns:a16="http://schemas.microsoft.com/office/drawing/2014/main" id="{B4C95264-87C3-41D9-BF23-B796F18F65D2}"/>
              </a:ext>
            </a:extLst>
          </p:cNvPr>
          <p:cNvSpPr>
            <a:spLocks noGrp="1"/>
          </p:cNvSpPr>
          <p:nvPr>
            <p:ph type="body" sz="quarter" idx="25" hasCustomPrompt="1"/>
          </p:nvPr>
        </p:nvSpPr>
        <p:spPr bwMode="gray">
          <a:xfrm>
            <a:off x="3935824" y="2996960"/>
            <a:ext cx="576000" cy="72000"/>
          </a:xfrm>
          <a:prstGeom prst="roundRect">
            <a:avLst>
              <a:gd name="adj" fmla="val 50000"/>
            </a:avLst>
          </a:prstGeom>
          <a:solidFill>
            <a:schemeClr val="bg2"/>
          </a:solidFill>
        </p:spPr>
        <p:txBody>
          <a:bodyPr/>
          <a:lstStyle>
            <a:lvl1pPr marL="0" indent="0" algn="ctr">
              <a:spcBef>
                <a:spcPts val="0"/>
              </a:spcBef>
              <a:spcAft>
                <a:spcPts val="0"/>
              </a:spcAft>
              <a:buFont typeface="Arial" panose="020B0604020202020204" pitchFamily="34" charset="0"/>
              <a:buNone/>
              <a:defRPr sz="600">
                <a:solidFill>
                  <a:schemeClr val="accent3">
                    <a:alpha val="0"/>
                  </a:schemeClr>
                </a:solidFill>
              </a:defRPr>
            </a:lvl1pPr>
            <a:lvl2pPr marL="0" indent="0" algn="ctr">
              <a:spcBef>
                <a:spcPts val="0"/>
              </a:spcBef>
              <a:spcAft>
                <a:spcPts val="0"/>
              </a:spcAft>
              <a:buFont typeface="Arial" panose="020B0604020202020204" pitchFamily="34" charset="0"/>
              <a:buNone/>
              <a:defRPr sz="600">
                <a:solidFill>
                  <a:schemeClr val="accent3">
                    <a:alpha val="0"/>
                  </a:schemeClr>
                </a:solidFill>
              </a:defRPr>
            </a:lvl2pPr>
            <a:lvl3pPr marL="0" indent="0" algn="ctr">
              <a:spcBef>
                <a:spcPts val="0"/>
              </a:spcBef>
              <a:spcAft>
                <a:spcPts val="0"/>
              </a:spcAft>
              <a:buNone/>
              <a:defRPr sz="600">
                <a:solidFill>
                  <a:schemeClr val="accent3">
                    <a:alpha val="0"/>
                  </a:schemeClr>
                </a:solidFill>
              </a:defRPr>
            </a:lvl3pPr>
            <a:lvl4pPr marL="0" indent="0" algn="ctr">
              <a:spcBef>
                <a:spcPts val="0"/>
              </a:spcBef>
              <a:spcAft>
                <a:spcPts val="0"/>
              </a:spcAft>
              <a:buNone/>
              <a:defRPr sz="600">
                <a:solidFill>
                  <a:schemeClr val="accent3">
                    <a:alpha val="0"/>
                  </a:schemeClr>
                </a:solidFill>
              </a:defRPr>
            </a:lvl4pPr>
            <a:lvl5pPr marL="0" indent="0" algn="ctr">
              <a:spcBef>
                <a:spcPts val="0"/>
              </a:spcBef>
              <a:spcAft>
                <a:spcPts val="0"/>
              </a:spcAft>
              <a:buNone/>
              <a:defRPr sz="600">
                <a:solidFill>
                  <a:schemeClr val="accent3">
                    <a:alpha val="0"/>
                  </a:schemeClr>
                </a:solidFill>
              </a:defRPr>
            </a:lvl5pPr>
            <a:lvl6pPr marL="0" indent="0" algn="ctr">
              <a:spcBef>
                <a:spcPts val="0"/>
              </a:spcBef>
              <a:spcAft>
                <a:spcPts val="0"/>
              </a:spcAft>
              <a:buNone/>
              <a:defRPr sz="600">
                <a:solidFill>
                  <a:schemeClr val="accent3">
                    <a:alpha val="0"/>
                  </a:schemeClr>
                </a:solidFill>
              </a:defRPr>
            </a:lvl6pPr>
            <a:lvl7pPr marL="0" indent="0" algn="ctr">
              <a:spcBef>
                <a:spcPts val="0"/>
              </a:spcBef>
              <a:spcAft>
                <a:spcPts val="0"/>
              </a:spcAft>
              <a:buNone/>
              <a:defRPr sz="600">
                <a:solidFill>
                  <a:schemeClr val="accent3">
                    <a:alpha val="0"/>
                  </a:schemeClr>
                </a:solidFill>
              </a:defRPr>
            </a:lvl7pPr>
            <a:lvl8pPr marL="0" indent="0" algn="ctr">
              <a:spcBef>
                <a:spcPts val="0"/>
              </a:spcBef>
              <a:spcAft>
                <a:spcPts val="0"/>
              </a:spcAft>
              <a:buNone/>
              <a:defRPr sz="600">
                <a:solidFill>
                  <a:schemeClr val="accent3">
                    <a:alpha val="0"/>
                  </a:schemeClr>
                </a:solidFill>
              </a:defRPr>
            </a:lvl8pPr>
            <a:lvl9pPr marL="0" indent="0" algn="ctr">
              <a:spcBef>
                <a:spcPts val="0"/>
              </a:spcBef>
              <a:spcAft>
                <a:spcPts val="0"/>
              </a:spcAft>
              <a:buNone/>
              <a:defRPr sz="600">
                <a:solidFill>
                  <a:schemeClr val="accent3">
                    <a:alpha val="0"/>
                  </a:schemeClr>
                </a:solidFill>
              </a:defRPr>
            </a:lvl9pPr>
          </a:lstStyle>
          <a:p>
            <a:pPr lvl="0"/>
            <a:r>
              <a:rPr lang="en-US" noProof="0"/>
              <a:t>  </a:t>
            </a:r>
          </a:p>
        </p:txBody>
      </p:sp>
      <p:sp>
        <p:nvSpPr>
          <p:cNvPr id="35" name="Textplatzhalter 4">
            <a:extLst>
              <a:ext uri="{FF2B5EF4-FFF2-40B4-BE49-F238E27FC236}">
                <a16:creationId xmlns:a16="http://schemas.microsoft.com/office/drawing/2014/main" id="{AEE66837-2DD2-4D77-9D5C-D29580F16CEB}"/>
              </a:ext>
            </a:extLst>
          </p:cNvPr>
          <p:cNvSpPr>
            <a:spLocks noGrp="1"/>
          </p:cNvSpPr>
          <p:nvPr>
            <p:ph type="body" sz="quarter" idx="26" hasCustomPrompt="1"/>
          </p:nvPr>
        </p:nvSpPr>
        <p:spPr bwMode="gray">
          <a:xfrm>
            <a:off x="4655968" y="2996960"/>
            <a:ext cx="576000" cy="72000"/>
          </a:xfrm>
          <a:prstGeom prst="roundRect">
            <a:avLst>
              <a:gd name="adj" fmla="val 50000"/>
            </a:avLst>
          </a:prstGeom>
          <a:solidFill>
            <a:schemeClr val="bg2"/>
          </a:solidFill>
        </p:spPr>
        <p:txBody>
          <a:bodyPr/>
          <a:lstStyle>
            <a:lvl1pPr marL="0" indent="0" algn="ctr">
              <a:spcBef>
                <a:spcPts val="0"/>
              </a:spcBef>
              <a:spcAft>
                <a:spcPts val="0"/>
              </a:spcAft>
              <a:buFont typeface="Arial" panose="020B0604020202020204" pitchFamily="34" charset="0"/>
              <a:buNone/>
              <a:defRPr sz="600">
                <a:solidFill>
                  <a:schemeClr val="accent3">
                    <a:alpha val="0"/>
                  </a:schemeClr>
                </a:solidFill>
              </a:defRPr>
            </a:lvl1pPr>
            <a:lvl2pPr marL="0" indent="0" algn="ctr">
              <a:spcBef>
                <a:spcPts val="0"/>
              </a:spcBef>
              <a:spcAft>
                <a:spcPts val="0"/>
              </a:spcAft>
              <a:buFont typeface="Arial" panose="020B0604020202020204" pitchFamily="34" charset="0"/>
              <a:buNone/>
              <a:defRPr sz="600">
                <a:solidFill>
                  <a:schemeClr val="accent3">
                    <a:alpha val="0"/>
                  </a:schemeClr>
                </a:solidFill>
              </a:defRPr>
            </a:lvl2pPr>
            <a:lvl3pPr marL="0" indent="0" algn="ctr">
              <a:spcBef>
                <a:spcPts val="0"/>
              </a:spcBef>
              <a:spcAft>
                <a:spcPts val="0"/>
              </a:spcAft>
              <a:buNone/>
              <a:defRPr sz="600">
                <a:solidFill>
                  <a:schemeClr val="accent3">
                    <a:alpha val="0"/>
                  </a:schemeClr>
                </a:solidFill>
              </a:defRPr>
            </a:lvl3pPr>
            <a:lvl4pPr marL="0" indent="0" algn="ctr">
              <a:spcBef>
                <a:spcPts val="0"/>
              </a:spcBef>
              <a:spcAft>
                <a:spcPts val="0"/>
              </a:spcAft>
              <a:buNone/>
              <a:defRPr sz="600">
                <a:solidFill>
                  <a:schemeClr val="accent3">
                    <a:alpha val="0"/>
                  </a:schemeClr>
                </a:solidFill>
              </a:defRPr>
            </a:lvl4pPr>
            <a:lvl5pPr marL="0" indent="0" algn="ctr">
              <a:spcBef>
                <a:spcPts val="0"/>
              </a:spcBef>
              <a:spcAft>
                <a:spcPts val="0"/>
              </a:spcAft>
              <a:buNone/>
              <a:defRPr sz="600">
                <a:solidFill>
                  <a:schemeClr val="accent3">
                    <a:alpha val="0"/>
                  </a:schemeClr>
                </a:solidFill>
              </a:defRPr>
            </a:lvl5pPr>
            <a:lvl6pPr marL="0" indent="0" algn="ctr">
              <a:spcBef>
                <a:spcPts val="0"/>
              </a:spcBef>
              <a:spcAft>
                <a:spcPts val="0"/>
              </a:spcAft>
              <a:buNone/>
              <a:defRPr sz="600">
                <a:solidFill>
                  <a:schemeClr val="accent3">
                    <a:alpha val="0"/>
                  </a:schemeClr>
                </a:solidFill>
              </a:defRPr>
            </a:lvl6pPr>
            <a:lvl7pPr marL="0" indent="0" algn="ctr">
              <a:spcBef>
                <a:spcPts val="0"/>
              </a:spcBef>
              <a:spcAft>
                <a:spcPts val="0"/>
              </a:spcAft>
              <a:buNone/>
              <a:defRPr sz="600">
                <a:solidFill>
                  <a:schemeClr val="accent3">
                    <a:alpha val="0"/>
                  </a:schemeClr>
                </a:solidFill>
              </a:defRPr>
            </a:lvl7pPr>
            <a:lvl8pPr marL="0" indent="0" algn="ctr">
              <a:spcBef>
                <a:spcPts val="0"/>
              </a:spcBef>
              <a:spcAft>
                <a:spcPts val="0"/>
              </a:spcAft>
              <a:buNone/>
              <a:defRPr sz="600">
                <a:solidFill>
                  <a:schemeClr val="accent3">
                    <a:alpha val="0"/>
                  </a:schemeClr>
                </a:solidFill>
              </a:defRPr>
            </a:lvl8pPr>
            <a:lvl9pPr marL="0" indent="0" algn="ctr">
              <a:spcBef>
                <a:spcPts val="0"/>
              </a:spcBef>
              <a:spcAft>
                <a:spcPts val="0"/>
              </a:spcAft>
              <a:buNone/>
              <a:defRPr sz="600">
                <a:solidFill>
                  <a:schemeClr val="accent3">
                    <a:alpha val="0"/>
                  </a:schemeClr>
                </a:solidFill>
              </a:defRPr>
            </a:lvl9pPr>
          </a:lstStyle>
          <a:p>
            <a:pPr lvl="0"/>
            <a:r>
              <a:rPr lang="en-US" noProof="0"/>
              <a:t>  </a:t>
            </a:r>
          </a:p>
        </p:txBody>
      </p:sp>
      <p:sp>
        <p:nvSpPr>
          <p:cNvPr id="36" name="Textplatzhalter 4">
            <a:extLst>
              <a:ext uri="{FF2B5EF4-FFF2-40B4-BE49-F238E27FC236}">
                <a16:creationId xmlns:a16="http://schemas.microsoft.com/office/drawing/2014/main" id="{F4DC1A4C-CF21-4379-BA55-B2B4FBA9DC3B}"/>
              </a:ext>
            </a:extLst>
          </p:cNvPr>
          <p:cNvSpPr>
            <a:spLocks noGrp="1"/>
          </p:cNvSpPr>
          <p:nvPr>
            <p:ph type="body" sz="quarter" idx="27" hasCustomPrompt="1"/>
          </p:nvPr>
        </p:nvSpPr>
        <p:spPr bwMode="gray">
          <a:xfrm>
            <a:off x="5376112" y="2996960"/>
            <a:ext cx="576000" cy="72000"/>
          </a:xfrm>
          <a:prstGeom prst="roundRect">
            <a:avLst>
              <a:gd name="adj" fmla="val 50000"/>
            </a:avLst>
          </a:prstGeom>
          <a:solidFill>
            <a:schemeClr val="bg2"/>
          </a:solidFill>
        </p:spPr>
        <p:txBody>
          <a:bodyPr/>
          <a:lstStyle>
            <a:lvl1pPr marL="0" indent="0" algn="ctr">
              <a:spcBef>
                <a:spcPts val="0"/>
              </a:spcBef>
              <a:spcAft>
                <a:spcPts val="0"/>
              </a:spcAft>
              <a:buFont typeface="Arial" panose="020B0604020202020204" pitchFamily="34" charset="0"/>
              <a:buNone/>
              <a:defRPr sz="600">
                <a:solidFill>
                  <a:schemeClr val="accent3">
                    <a:alpha val="0"/>
                  </a:schemeClr>
                </a:solidFill>
              </a:defRPr>
            </a:lvl1pPr>
            <a:lvl2pPr marL="0" indent="0" algn="ctr">
              <a:spcBef>
                <a:spcPts val="0"/>
              </a:spcBef>
              <a:spcAft>
                <a:spcPts val="0"/>
              </a:spcAft>
              <a:buFont typeface="Arial" panose="020B0604020202020204" pitchFamily="34" charset="0"/>
              <a:buNone/>
              <a:defRPr sz="600">
                <a:solidFill>
                  <a:schemeClr val="accent3">
                    <a:alpha val="0"/>
                  </a:schemeClr>
                </a:solidFill>
              </a:defRPr>
            </a:lvl2pPr>
            <a:lvl3pPr marL="0" indent="0" algn="ctr">
              <a:spcBef>
                <a:spcPts val="0"/>
              </a:spcBef>
              <a:spcAft>
                <a:spcPts val="0"/>
              </a:spcAft>
              <a:buNone/>
              <a:defRPr sz="600">
                <a:solidFill>
                  <a:schemeClr val="accent3">
                    <a:alpha val="0"/>
                  </a:schemeClr>
                </a:solidFill>
              </a:defRPr>
            </a:lvl3pPr>
            <a:lvl4pPr marL="0" indent="0" algn="ctr">
              <a:spcBef>
                <a:spcPts val="0"/>
              </a:spcBef>
              <a:spcAft>
                <a:spcPts val="0"/>
              </a:spcAft>
              <a:buNone/>
              <a:defRPr sz="600">
                <a:solidFill>
                  <a:schemeClr val="accent3">
                    <a:alpha val="0"/>
                  </a:schemeClr>
                </a:solidFill>
              </a:defRPr>
            </a:lvl4pPr>
            <a:lvl5pPr marL="0" indent="0" algn="ctr">
              <a:spcBef>
                <a:spcPts val="0"/>
              </a:spcBef>
              <a:spcAft>
                <a:spcPts val="0"/>
              </a:spcAft>
              <a:buNone/>
              <a:defRPr sz="600">
                <a:solidFill>
                  <a:schemeClr val="accent3">
                    <a:alpha val="0"/>
                  </a:schemeClr>
                </a:solidFill>
              </a:defRPr>
            </a:lvl5pPr>
            <a:lvl6pPr marL="0" indent="0" algn="ctr">
              <a:spcBef>
                <a:spcPts val="0"/>
              </a:spcBef>
              <a:spcAft>
                <a:spcPts val="0"/>
              </a:spcAft>
              <a:buNone/>
              <a:defRPr sz="600">
                <a:solidFill>
                  <a:schemeClr val="accent3">
                    <a:alpha val="0"/>
                  </a:schemeClr>
                </a:solidFill>
              </a:defRPr>
            </a:lvl6pPr>
            <a:lvl7pPr marL="0" indent="0" algn="ctr">
              <a:spcBef>
                <a:spcPts val="0"/>
              </a:spcBef>
              <a:spcAft>
                <a:spcPts val="0"/>
              </a:spcAft>
              <a:buNone/>
              <a:defRPr sz="600">
                <a:solidFill>
                  <a:schemeClr val="accent3">
                    <a:alpha val="0"/>
                  </a:schemeClr>
                </a:solidFill>
              </a:defRPr>
            </a:lvl7pPr>
            <a:lvl8pPr marL="0" indent="0" algn="ctr">
              <a:spcBef>
                <a:spcPts val="0"/>
              </a:spcBef>
              <a:spcAft>
                <a:spcPts val="0"/>
              </a:spcAft>
              <a:buNone/>
              <a:defRPr sz="600">
                <a:solidFill>
                  <a:schemeClr val="accent3">
                    <a:alpha val="0"/>
                  </a:schemeClr>
                </a:solidFill>
              </a:defRPr>
            </a:lvl8pPr>
            <a:lvl9pPr marL="0" indent="0" algn="ctr">
              <a:spcBef>
                <a:spcPts val="0"/>
              </a:spcBef>
              <a:spcAft>
                <a:spcPts val="0"/>
              </a:spcAft>
              <a:buNone/>
              <a:defRPr sz="600">
                <a:solidFill>
                  <a:schemeClr val="accent3">
                    <a:alpha val="0"/>
                  </a:schemeClr>
                </a:solidFill>
              </a:defRPr>
            </a:lvl9pPr>
          </a:lstStyle>
          <a:p>
            <a:pPr lvl="0"/>
            <a:r>
              <a:rPr lang="en-US" noProof="0"/>
              <a:t>  </a:t>
            </a:r>
          </a:p>
        </p:txBody>
      </p:sp>
      <p:pic>
        <p:nvPicPr>
          <p:cNvPr id="37" name="Grafik 36">
            <a:extLst>
              <a:ext uri="{FF2B5EF4-FFF2-40B4-BE49-F238E27FC236}">
                <a16:creationId xmlns:a16="http://schemas.microsoft.com/office/drawing/2014/main" id="{A7C38E61-0087-443E-8A4F-1DE65294070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07368" y="404813"/>
            <a:ext cx="216241" cy="216000"/>
          </a:xfrm>
          <a:prstGeom prst="rect">
            <a:avLst/>
          </a:prstGeom>
        </p:spPr>
      </p:pic>
    </p:spTree>
    <p:extLst>
      <p:ext uri="{BB962C8B-B14F-4D97-AF65-F5344CB8AC3E}">
        <p14:creationId xmlns:p14="http://schemas.microsoft.com/office/powerpoint/2010/main" val="33601260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lnSpc>
                <a:spcPct val="100000"/>
              </a:lnSpc>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lvl1pPr>
              <a:lnSpc>
                <a:spcPct val="100000"/>
              </a:lnSpc>
              <a:defRPr/>
            </a:lvl1pPr>
          </a:lstStyle>
          <a:p>
            <a:fld id="{3B140A39-527A-45CF-A911-B921024B92E6}" type="slidenum">
              <a:rPr lang="en-US" smtClean="0"/>
              <a:pPr/>
              <a:t>‹#›</a:t>
            </a:fld>
            <a:endParaRPr lang="en-US"/>
          </a:p>
        </p:txBody>
      </p:sp>
      <p:sp>
        <p:nvSpPr>
          <p:cNvPr id="4" name="Fußzeilenplatzhalter 3">
            <a:extLst>
              <a:ext uri="{FF2B5EF4-FFF2-40B4-BE49-F238E27FC236}">
                <a16:creationId xmlns:a16="http://schemas.microsoft.com/office/drawing/2014/main" id="{27EF156B-ABD0-4789-83F1-51E686581D77}"/>
              </a:ext>
            </a:extLst>
          </p:cNvPr>
          <p:cNvSpPr>
            <a:spLocks noGrp="1"/>
          </p:cNvSpPr>
          <p:nvPr>
            <p:ph type="ftr" sz="quarter" idx="13"/>
          </p:nvPr>
        </p:nvSpPr>
        <p:spPr bwMode="gray"/>
        <p:txBody>
          <a:bodyPr/>
          <a:lstStyle/>
          <a:p>
            <a:r>
              <a:rPr lang="en-GB"/>
              <a:t>BayWa r.e. AG Company Presentation 2024</a:t>
            </a:r>
            <a:endParaRPr lang="en-US"/>
          </a:p>
        </p:txBody>
      </p:sp>
      <p:sp>
        <p:nvSpPr>
          <p:cNvPr id="7" name="Rechteck 6">
            <a:extLst>
              <a:ext uri="{FF2B5EF4-FFF2-40B4-BE49-F238E27FC236}">
                <a16:creationId xmlns:a16="http://schemas.microsoft.com/office/drawing/2014/main" id="{E33ED2EC-963F-433B-AAE3-6EC603286DFA}"/>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br>
              <a:rPr lang="en-US" sz="1000" b="1">
                <a:solidFill>
                  <a:schemeClr val="tx1"/>
                </a:solidFill>
              </a:rPr>
            </a:br>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a:p>
            <a:pPr algn="l"/>
            <a:endParaRPr lang="en-US" sz="1000" b="1">
              <a:solidFill>
                <a:schemeClr val="tx1"/>
              </a:solidFill>
            </a:endParaRPr>
          </a:p>
        </p:txBody>
      </p:sp>
      <p:pic>
        <p:nvPicPr>
          <p:cNvPr id="8" name="Grafik 7">
            <a:extLst>
              <a:ext uri="{FF2B5EF4-FFF2-40B4-BE49-F238E27FC236}">
                <a16:creationId xmlns:a16="http://schemas.microsoft.com/office/drawing/2014/main" id="{7E2D92FF-DEFD-4516-9272-22006D18FC2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13758126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 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lnSpc>
                <a:spcPct val="100000"/>
              </a:lnSpc>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1556915"/>
            <a:ext cx="5472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lvl1pPr>
              <a:lnSpc>
                <a:spcPct val="100000"/>
              </a:lnSpc>
              <a:defRPr/>
            </a:lvl1pPr>
          </a:lstStyle>
          <a:p>
            <a:fld id="{3B140A39-527A-45CF-A911-B921024B92E6}" type="slidenum">
              <a:rPr lang="en-US" smtClean="0"/>
              <a:pPr/>
              <a:t>‹#›</a:t>
            </a:fld>
            <a:endParaRPr lang="en-US"/>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6312632" y="1557328"/>
            <a:ext cx="5472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Fußzeilenplatzhalter 3">
            <a:extLst>
              <a:ext uri="{FF2B5EF4-FFF2-40B4-BE49-F238E27FC236}">
                <a16:creationId xmlns:a16="http://schemas.microsoft.com/office/drawing/2014/main" id="{FCDAB22B-4654-4B5B-A359-3026A5D5754C}"/>
              </a:ext>
            </a:extLst>
          </p:cNvPr>
          <p:cNvSpPr>
            <a:spLocks noGrp="1"/>
          </p:cNvSpPr>
          <p:nvPr>
            <p:ph type="ftr" sz="quarter" idx="14"/>
          </p:nvPr>
        </p:nvSpPr>
        <p:spPr bwMode="gray"/>
        <p:txBody>
          <a:bodyPr/>
          <a:lstStyle/>
          <a:p>
            <a:r>
              <a:rPr lang="en-GB"/>
              <a:t>BayWa r.e. AG Company Presentation 2024</a:t>
            </a:r>
            <a:endParaRPr lang="en-US"/>
          </a:p>
        </p:txBody>
      </p:sp>
      <p:sp>
        <p:nvSpPr>
          <p:cNvPr id="7" name="Rechteck 6">
            <a:extLst>
              <a:ext uri="{FF2B5EF4-FFF2-40B4-BE49-F238E27FC236}">
                <a16:creationId xmlns:a16="http://schemas.microsoft.com/office/drawing/2014/main" id="{EA6E7111-8938-4FA2-AE5F-BDECC6EDB50A}"/>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9" name="Grafik 8">
            <a:extLst>
              <a:ext uri="{FF2B5EF4-FFF2-40B4-BE49-F238E27FC236}">
                <a16:creationId xmlns:a16="http://schemas.microsoft.com/office/drawing/2014/main" id="{E443ED85-9DF3-4F23-8CDA-D12FC5D3A97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1154645385"/>
      </p:ext>
    </p:extLst>
  </p:cSld>
  <p:clrMapOvr>
    <a:masterClrMapping/>
  </p:clrMapOvr>
  <p:extLst>
    <p:ext uri="{DCECCB84-F9BA-43D5-87BE-67443E8EF086}">
      <p15:sldGuideLst xmlns:p15="http://schemas.microsoft.com/office/powerpoint/2012/main">
        <p15:guide id="1" pos="3704">
          <p15:clr>
            <a:srgbClr val="FBAE40"/>
          </p15:clr>
        </p15:guide>
        <p15:guide id="2" pos="397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lnSpc>
                <a:spcPct val="100000"/>
              </a:lnSpc>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1557328"/>
            <a:ext cx="352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lvl1pPr>
              <a:lnSpc>
                <a:spcPct val="100000"/>
              </a:lnSpc>
              <a:defRPr/>
            </a:lvl1pPr>
          </a:lstStyle>
          <a:p>
            <a:fld id="{3B140A39-527A-45CF-A911-B921024B92E6}" type="slidenum">
              <a:rPr lang="en-US" smtClean="0"/>
              <a:pPr/>
              <a:t>‹#›</a:t>
            </a:fld>
            <a:endParaRPr lang="en-US"/>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4296216" y="1557328"/>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8256648" y="1557328"/>
            <a:ext cx="352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Fußzeilenplatzhalter 3">
            <a:extLst>
              <a:ext uri="{FF2B5EF4-FFF2-40B4-BE49-F238E27FC236}">
                <a16:creationId xmlns:a16="http://schemas.microsoft.com/office/drawing/2014/main" id="{3F1C2510-CD90-4B63-B9D4-7928C936ADB1}"/>
              </a:ext>
            </a:extLst>
          </p:cNvPr>
          <p:cNvSpPr>
            <a:spLocks noGrp="1"/>
          </p:cNvSpPr>
          <p:nvPr>
            <p:ph type="ftr" sz="quarter" idx="15"/>
          </p:nvPr>
        </p:nvSpPr>
        <p:spPr bwMode="gray"/>
        <p:txBody>
          <a:bodyPr/>
          <a:lstStyle/>
          <a:p>
            <a:r>
              <a:rPr lang="en-GB"/>
              <a:t>BayWa r.e. AG Company Presentation 2024</a:t>
            </a:r>
            <a:endParaRPr lang="en-US"/>
          </a:p>
        </p:txBody>
      </p:sp>
      <p:sp>
        <p:nvSpPr>
          <p:cNvPr id="8" name="Rechteck 7">
            <a:extLst>
              <a:ext uri="{FF2B5EF4-FFF2-40B4-BE49-F238E27FC236}">
                <a16:creationId xmlns:a16="http://schemas.microsoft.com/office/drawing/2014/main" id="{09EE6822-2664-4090-859E-3C6BC7EFBCD1}"/>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10" name="Grafik 9">
            <a:extLst>
              <a:ext uri="{FF2B5EF4-FFF2-40B4-BE49-F238E27FC236}">
                <a16:creationId xmlns:a16="http://schemas.microsoft.com/office/drawing/2014/main" id="{33333C72-0011-459B-850E-BE0A30CE298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3854810294"/>
      </p:ext>
    </p:extLst>
  </p:cSld>
  <p:clrMapOvr>
    <a:masterClrMapping/>
  </p:clrMapOvr>
  <p:extLst>
    <p:ext uri="{DCECCB84-F9BA-43D5-87BE-67443E8EF086}">
      <p15:sldGuideLst xmlns:p15="http://schemas.microsoft.com/office/powerpoint/2012/main">
        <p15:guide id="3" pos="2479" userDrawn="1">
          <p15:clr>
            <a:srgbClr val="FBAE40"/>
          </p15:clr>
        </p15:guide>
        <p15:guide id="4" pos="2706" userDrawn="1">
          <p15:clr>
            <a:srgbClr val="FBAE40"/>
          </p15:clr>
        </p15:guide>
        <p15:guide id="5" pos="4974" userDrawn="1">
          <p15:clr>
            <a:srgbClr val="FBAE40"/>
          </p15:clr>
        </p15:guide>
        <p15:guide id="6" pos="520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s + three fac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1556792"/>
            <a:ext cx="3528000" cy="3672000"/>
          </a:xfrm>
        </p:spPr>
        <p:txBody>
          <a:bodyPr/>
          <a:lstStyle>
            <a:lvl1pPr>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p>
            <a:fld id="{3B140A39-527A-45CF-A911-B921024B92E6}" type="slidenum">
              <a:rPr lang="en-US" noProof="0" smtClean="0"/>
              <a:t>‹#›</a:t>
            </a:fld>
            <a:endParaRPr lang="en-US" noProof="0"/>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4296192" y="1556792"/>
            <a:ext cx="3600000" cy="3672000"/>
          </a:xfrm>
        </p:spPr>
        <p:txBody>
          <a:bodyPr/>
          <a:lstStyle>
            <a:lvl1pPr>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8256632" y="1556792"/>
            <a:ext cx="3528000" cy="3672000"/>
          </a:xfrm>
        </p:spPr>
        <p:txBody>
          <a:bodyPr/>
          <a:lstStyle>
            <a:lvl1pPr>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platzhalter 14">
            <a:extLst>
              <a:ext uri="{FF2B5EF4-FFF2-40B4-BE49-F238E27FC236}">
                <a16:creationId xmlns:a16="http://schemas.microsoft.com/office/drawing/2014/main" id="{1EBAAF67-105C-4D80-8280-653A329FDE0B}"/>
              </a:ext>
            </a:extLst>
          </p:cNvPr>
          <p:cNvSpPr>
            <a:spLocks noGrp="1"/>
          </p:cNvSpPr>
          <p:nvPr>
            <p:ph type="body" sz="quarter" idx="15" hasCustomPrompt="1"/>
          </p:nvPr>
        </p:nvSpPr>
        <p:spPr bwMode="gray">
          <a:xfrm>
            <a:off x="407859" y="5372534"/>
            <a:ext cx="3528000" cy="1008000"/>
          </a:xfrm>
          <a:prstGeom prst="roundRect">
            <a:avLst>
              <a:gd name="adj" fmla="val 5880"/>
            </a:avLst>
          </a:prstGeom>
          <a:solidFill>
            <a:schemeClr val="accent1"/>
          </a:solidFill>
        </p:spPr>
        <p:txBody>
          <a:bodyPr lIns="108000" tIns="72000" rIns="648000" bIns="72000" anchor="ctr"/>
          <a:lstStyle>
            <a:lvl1pPr marL="0" indent="0">
              <a:spcBef>
                <a:spcPts val="0"/>
              </a:spcBef>
              <a:spcAft>
                <a:spcPts val="0"/>
              </a:spcAft>
              <a:buFont typeface="Arial" panose="020B0604020202020204" pitchFamily="34" charset="0"/>
              <a:buNone/>
              <a:defRPr b="1">
                <a:solidFill>
                  <a:schemeClr val="bg1"/>
                </a:solidFill>
              </a:defRPr>
            </a:lvl1pPr>
            <a:lvl2pPr marL="0" indent="0">
              <a:spcBef>
                <a:spcPts val="0"/>
              </a:spcBef>
              <a:spcAft>
                <a:spcPts val="0"/>
              </a:spcAft>
              <a:buFont typeface="Arial" panose="020B0604020202020204" pitchFamily="34" charset="0"/>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Font typeface="Arial" panose="020B0604020202020204" pitchFamily="34" charset="0"/>
              <a:buNone/>
              <a:defRPr b="1">
                <a:solidFill>
                  <a:schemeClr val="bg1"/>
                </a:solidFill>
              </a:defRPr>
            </a:lvl4pPr>
            <a:lvl5pPr marL="0" indent="0">
              <a:spcBef>
                <a:spcPts val="0"/>
              </a:spcBef>
              <a:spcAft>
                <a:spcPts val="0"/>
              </a:spcAft>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en-US" noProof="0"/>
              <a:t>Click to add a conclusion</a:t>
            </a:r>
          </a:p>
        </p:txBody>
      </p:sp>
      <p:sp>
        <p:nvSpPr>
          <p:cNvPr id="16" name="Textplatzhalter 14">
            <a:extLst>
              <a:ext uri="{FF2B5EF4-FFF2-40B4-BE49-F238E27FC236}">
                <a16:creationId xmlns:a16="http://schemas.microsoft.com/office/drawing/2014/main" id="{9A48053A-DE3C-4A86-A5D0-44B5AAFC5E46}"/>
              </a:ext>
            </a:extLst>
          </p:cNvPr>
          <p:cNvSpPr>
            <a:spLocks noGrp="1"/>
          </p:cNvSpPr>
          <p:nvPr>
            <p:ph type="body" sz="quarter" idx="16" hasCustomPrompt="1"/>
          </p:nvPr>
        </p:nvSpPr>
        <p:spPr bwMode="gray">
          <a:xfrm>
            <a:off x="4296200" y="5372931"/>
            <a:ext cx="3600000" cy="1008000"/>
          </a:xfrm>
          <a:prstGeom prst="roundRect">
            <a:avLst>
              <a:gd name="adj" fmla="val 5880"/>
            </a:avLst>
          </a:prstGeom>
          <a:solidFill>
            <a:schemeClr val="accent1"/>
          </a:solidFill>
        </p:spPr>
        <p:txBody>
          <a:bodyPr lIns="108000" tIns="72000" rIns="648000" bIns="72000" anchor="ctr"/>
          <a:lstStyle>
            <a:lvl1pPr marL="0" indent="0">
              <a:spcBef>
                <a:spcPts val="0"/>
              </a:spcBef>
              <a:spcAft>
                <a:spcPts val="0"/>
              </a:spcAft>
              <a:buFont typeface="Arial" panose="020B0604020202020204" pitchFamily="34" charset="0"/>
              <a:buNone/>
              <a:defRPr b="1">
                <a:solidFill>
                  <a:schemeClr val="bg1"/>
                </a:solidFill>
              </a:defRPr>
            </a:lvl1pPr>
            <a:lvl2pPr marL="0" indent="0">
              <a:spcBef>
                <a:spcPts val="0"/>
              </a:spcBef>
              <a:spcAft>
                <a:spcPts val="0"/>
              </a:spcAft>
              <a:buFont typeface="Arial" panose="020B0604020202020204" pitchFamily="34" charset="0"/>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Font typeface="Arial" panose="020B0604020202020204" pitchFamily="34" charset="0"/>
              <a:buNone/>
              <a:defRPr b="1">
                <a:solidFill>
                  <a:schemeClr val="bg1"/>
                </a:solidFill>
              </a:defRPr>
            </a:lvl4pPr>
            <a:lvl5pPr marL="0" indent="0">
              <a:spcBef>
                <a:spcPts val="0"/>
              </a:spcBef>
              <a:spcAft>
                <a:spcPts val="0"/>
              </a:spcAft>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en-US" noProof="0"/>
              <a:t>Click to add a conclusion</a:t>
            </a:r>
          </a:p>
        </p:txBody>
      </p:sp>
      <p:sp>
        <p:nvSpPr>
          <p:cNvPr id="17" name="Textplatzhalter 14">
            <a:extLst>
              <a:ext uri="{FF2B5EF4-FFF2-40B4-BE49-F238E27FC236}">
                <a16:creationId xmlns:a16="http://schemas.microsoft.com/office/drawing/2014/main" id="{A6574D81-C909-4937-AD9A-C2622257264E}"/>
              </a:ext>
            </a:extLst>
          </p:cNvPr>
          <p:cNvSpPr>
            <a:spLocks noGrp="1"/>
          </p:cNvSpPr>
          <p:nvPr>
            <p:ph type="body" sz="quarter" idx="17" hasCustomPrompt="1"/>
          </p:nvPr>
        </p:nvSpPr>
        <p:spPr bwMode="gray">
          <a:xfrm>
            <a:off x="8256632" y="5373328"/>
            <a:ext cx="3528000" cy="1008000"/>
          </a:xfrm>
          <a:prstGeom prst="roundRect">
            <a:avLst>
              <a:gd name="adj" fmla="val 5880"/>
            </a:avLst>
          </a:prstGeom>
          <a:solidFill>
            <a:schemeClr val="accent1"/>
          </a:solidFill>
        </p:spPr>
        <p:txBody>
          <a:bodyPr lIns="108000" tIns="72000" rIns="648000" bIns="72000" anchor="ctr"/>
          <a:lstStyle>
            <a:lvl1pPr marL="0" indent="0">
              <a:spcBef>
                <a:spcPts val="0"/>
              </a:spcBef>
              <a:spcAft>
                <a:spcPts val="0"/>
              </a:spcAft>
              <a:buFont typeface="Arial" panose="020B0604020202020204" pitchFamily="34" charset="0"/>
              <a:buNone/>
              <a:defRPr b="1">
                <a:solidFill>
                  <a:schemeClr val="bg1"/>
                </a:solidFill>
              </a:defRPr>
            </a:lvl1pPr>
            <a:lvl2pPr marL="0" indent="0">
              <a:spcBef>
                <a:spcPts val="0"/>
              </a:spcBef>
              <a:spcAft>
                <a:spcPts val="0"/>
              </a:spcAft>
              <a:buFont typeface="Arial" panose="020B0604020202020204" pitchFamily="34" charset="0"/>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Font typeface="Arial" panose="020B0604020202020204" pitchFamily="34" charset="0"/>
              <a:buNone/>
              <a:defRPr b="1">
                <a:solidFill>
                  <a:schemeClr val="bg1"/>
                </a:solidFill>
              </a:defRPr>
            </a:lvl4pPr>
            <a:lvl5pPr marL="0" indent="0">
              <a:spcBef>
                <a:spcPts val="0"/>
              </a:spcBef>
              <a:spcAft>
                <a:spcPts val="0"/>
              </a:spcAft>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en-US" noProof="0"/>
              <a:t>Click to add a conclusion</a:t>
            </a:r>
          </a:p>
        </p:txBody>
      </p:sp>
      <p:sp>
        <p:nvSpPr>
          <p:cNvPr id="18" name="Textplatzhalter 17">
            <a:extLst>
              <a:ext uri="{FF2B5EF4-FFF2-40B4-BE49-F238E27FC236}">
                <a16:creationId xmlns:a16="http://schemas.microsoft.com/office/drawing/2014/main" id="{1CC0DD43-95D6-42EE-B328-0CE023A73A89}"/>
              </a:ext>
            </a:extLst>
          </p:cNvPr>
          <p:cNvSpPr>
            <a:spLocks noGrp="1"/>
          </p:cNvSpPr>
          <p:nvPr>
            <p:ph type="body" sz="quarter" idx="18" hasCustomPrompt="1"/>
          </p:nvPr>
        </p:nvSpPr>
        <p:spPr bwMode="gray">
          <a:xfrm>
            <a:off x="3431704" y="5517272"/>
            <a:ext cx="360000" cy="360000"/>
          </a:xfrm>
          <a:custGeom>
            <a:avLst/>
            <a:gdLst/>
            <a:ahLst/>
            <a:cxnLst/>
            <a:rect l="l" t="t" r="r" b="b"/>
            <a:pathLst>
              <a:path w="360000" h="360000">
                <a:moveTo>
                  <a:pt x="170973" y="230510"/>
                </a:moveTo>
                <a:lnTo>
                  <a:pt x="170973" y="261875"/>
                </a:lnTo>
                <a:lnTo>
                  <a:pt x="202338" y="261875"/>
                </a:lnTo>
                <a:lnTo>
                  <a:pt x="202338" y="230510"/>
                </a:lnTo>
                <a:close/>
                <a:moveTo>
                  <a:pt x="169633" y="98239"/>
                </a:moveTo>
                <a:lnTo>
                  <a:pt x="169633" y="136636"/>
                </a:lnTo>
                <a:lnTo>
                  <a:pt x="177782" y="219682"/>
                </a:lnTo>
                <a:lnTo>
                  <a:pt x="195530" y="219682"/>
                </a:lnTo>
                <a:lnTo>
                  <a:pt x="203566" y="136636"/>
                </a:lnTo>
                <a:lnTo>
                  <a:pt x="203566" y="98239"/>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bg1"/>
          </a:solidFill>
        </p:spPr>
        <p:txBody>
          <a:bodyPr wrap="square" anchor="ctr">
            <a:noAutofit/>
          </a:bodyPr>
          <a:lstStyle>
            <a:lvl1pPr marL="0" indent="0" algn="ctr">
              <a:spcBef>
                <a:spcPts val="0"/>
              </a:spcBef>
              <a:spcAft>
                <a:spcPts val="0"/>
              </a:spcAft>
              <a:buFont typeface="Arial" panose="020B0604020202020204" pitchFamily="34" charset="0"/>
              <a:buNone/>
              <a:defRPr sz="600" b="1">
                <a:solidFill>
                  <a:schemeClr val="accent1">
                    <a:alpha val="0"/>
                  </a:schemeClr>
                </a:solidFill>
              </a:defRPr>
            </a:lvl1pPr>
            <a:lvl2pPr marL="0" indent="0" algn="ctr">
              <a:spcBef>
                <a:spcPts val="0"/>
              </a:spcBef>
              <a:spcAft>
                <a:spcPts val="0"/>
              </a:spcAft>
              <a:buFont typeface="Arial" panose="020B0604020202020204" pitchFamily="34" charset="0"/>
              <a:buNone/>
              <a:defRPr sz="600" b="1">
                <a:solidFill>
                  <a:schemeClr val="accent1">
                    <a:alpha val="0"/>
                  </a:schemeClr>
                </a:solidFill>
              </a:defRPr>
            </a:lvl2pPr>
            <a:lvl3pPr marL="0" indent="0" algn="ctr">
              <a:spcBef>
                <a:spcPts val="0"/>
              </a:spcBef>
              <a:spcAft>
                <a:spcPts val="0"/>
              </a:spcAft>
              <a:buNone/>
              <a:defRPr sz="600" b="1">
                <a:solidFill>
                  <a:schemeClr val="accent1">
                    <a:alpha val="0"/>
                  </a:schemeClr>
                </a:solidFill>
              </a:defRPr>
            </a:lvl3pPr>
            <a:lvl4pPr marL="0" indent="0" algn="ctr">
              <a:spcBef>
                <a:spcPts val="0"/>
              </a:spcBef>
              <a:spcAft>
                <a:spcPts val="0"/>
              </a:spcAft>
              <a:buNone/>
              <a:defRPr sz="600" b="1">
                <a:solidFill>
                  <a:schemeClr val="accent1">
                    <a:alpha val="0"/>
                  </a:schemeClr>
                </a:solidFill>
              </a:defRPr>
            </a:lvl4pPr>
            <a:lvl5pPr marL="0" indent="0" algn="ctr">
              <a:spcBef>
                <a:spcPts val="0"/>
              </a:spcBef>
              <a:spcAft>
                <a:spcPts val="0"/>
              </a:spcAft>
              <a:buNone/>
              <a:defRPr sz="600" b="1">
                <a:solidFill>
                  <a:schemeClr val="accent1">
                    <a:alpha val="0"/>
                  </a:schemeClr>
                </a:solidFill>
              </a:defRPr>
            </a:lvl5pPr>
            <a:lvl6pPr marL="0" indent="0" algn="ctr">
              <a:spcBef>
                <a:spcPts val="0"/>
              </a:spcBef>
              <a:spcAft>
                <a:spcPts val="0"/>
              </a:spcAft>
              <a:buNone/>
              <a:defRPr sz="600" b="1">
                <a:solidFill>
                  <a:schemeClr val="accent1">
                    <a:alpha val="0"/>
                  </a:schemeClr>
                </a:solidFill>
              </a:defRPr>
            </a:lvl6pPr>
            <a:lvl7pPr marL="0" indent="0" algn="ctr">
              <a:spcBef>
                <a:spcPts val="0"/>
              </a:spcBef>
              <a:spcAft>
                <a:spcPts val="0"/>
              </a:spcAft>
              <a:buNone/>
              <a:defRPr sz="600" b="1">
                <a:solidFill>
                  <a:schemeClr val="accent1">
                    <a:alpha val="0"/>
                  </a:schemeClr>
                </a:solidFill>
              </a:defRPr>
            </a:lvl7pPr>
            <a:lvl8pPr marL="0" indent="0" algn="ctr">
              <a:spcBef>
                <a:spcPts val="0"/>
              </a:spcBef>
              <a:spcAft>
                <a:spcPts val="0"/>
              </a:spcAft>
              <a:buNone/>
              <a:defRPr sz="600" b="1">
                <a:solidFill>
                  <a:schemeClr val="accent1">
                    <a:alpha val="0"/>
                  </a:schemeClr>
                </a:solidFill>
              </a:defRPr>
            </a:lvl8pPr>
            <a:lvl9pPr marL="0" indent="0" algn="ctr">
              <a:spcBef>
                <a:spcPts val="0"/>
              </a:spcBef>
              <a:spcAft>
                <a:spcPts val="0"/>
              </a:spcAft>
              <a:buNone/>
              <a:defRPr sz="600" b="1">
                <a:solidFill>
                  <a:schemeClr val="accent1">
                    <a:alpha val="0"/>
                  </a:schemeClr>
                </a:solidFill>
              </a:defRPr>
            </a:lvl9pPr>
          </a:lstStyle>
          <a:p>
            <a:pPr lvl="0"/>
            <a:r>
              <a:rPr lang="en-US" noProof="0"/>
              <a:t>  </a:t>
            </a:r>
          </a:p>
        </p:txBody>
      </p:sp>
      <p:sp>
        <p:nvSpPr>
          <p:cNvPr id="4" name="Fußzeilenplatzhalter 3">
            <a:extLst>
              <a:ext uri="{FF2B5EF4-FFF2-40B4-BE49-F238E27FC236}">
                <a16:creationId xmlns:a16="http://schemas.microsoft.com/office/drawing/2014/main" id="{95670444-485C-4BE0-A354-91B0686EF389}"/>
              </a:ext>
            </a:extLst>
          </p:cNvPr>
          <p:cNvSpPr>
            <a:spLocks noGrp="1"/>
          </p:cNvSpPr>
          <p:nvPr>
            <p:ph type="ftr" sz="quarter" idx="21"/>
          </p:nvPr>
        </p:nvSpPr>
        <p:spPr bwMode="gray"/>
        <p:txBody>
          <a:bodyPr/>
          <a:lstStyle/>
          <a:p>
            <a:r>
              <a:rPr lang="en-GB"/>
              <a:t>BayWa r.e. AG Company Presentation 2024</a:t>
            </a:r>
            <a:endParaRPr lang="en-US"/>
          </a:p>
        </p:txBody>
      </p:sp>
      <p:sp>
        <p:nvSpPr>
          <p:cNvPr id="21" name="Textplatzhalter 20">
            <a:extLst>
              <a:ext uri="{FF2B5EF4-FFF2-40B4-BE49-F238E27FC236}">
                <a16:creationId xmlns:a16="http://schemas.microsoft.com/office/drawing/2014/main" id="{44EA50C7-93FB-484E-80A3-8425C2AFB528}"/>
              </a:ext>
            </a:extLst>
          </p:cNvPr>
          <p:cNvSpPr>
            <a:spLocks noGrp="1"/>
          </p:cNvSpPr>
          <p:nvPr>
            <p:ph type="body" sz="quarter" idx="22" hasCustomPrompt="1"/>
          </p:nvPr>
        </p:nvSpPr>
        <p:spPr bwMode="gray">
          <a:xfrm>
            <a:off x="7392184" y="5517272"/>
            <a:ext cx="360000" cy="360000"/>
          </a:xfrm>
          <a:custGeom>
            <a:avLst/>
            <a:gdLst/>
            <a:ahLst/>
            <a:cxnLst/>
            <a:rect l="l" t="t" r="r" b="b"/>
            <a:pathLst>
              <a:path w="360000" h="360000">
                <a:moveTo>
                  <a:pt x="170973" y="230510"/>
                </a:moveTo>
                <a:lnTo>
                  <a:pt x="170973" y="261875"/>
                </a:lnTo>
                <a:lnTo>
                  <a:pt x="202338" y="261875"/>
                </a:lnTo>
                <a:lnTo>
                  <a:pt x="202338" y="230510"/>
                </a:lnTo>
                <a:close/>
                <a:moveTo>
                  <a:pt x="169633" y="98239"/>
                </a:moveTo>
                <a:lnTo>
                  <a:pt x="169633" y="136636"/>
                </a:lnTo>
                <a:lnTo>
                  <a:pt x="177782" y="219682"/>
                </a:lnTo>
                <a:lnTo>
                  <a:pt x="195530" y="219682"/>
                </a:lnTo>
                <a:lnTo>
                  <a:pt x="203566" y="136636"/>
                </a:lnTo>
                <a:lnTo>
                  <a:pt x="203566" y="98239"/>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bg1"/>
          </a:solidFill>
        </p:spPr>
        <p:txBody>
          <a:bodyPr wrap="square" anchor="ctr">
            <a:noAutofit/>
          </a:bodyPr>
          <a:lstStyle>
            <a:lvl1pPr marL="0" indent="0" algn="ctr">
              <a:spcBef>
                <a:spcPts val="0"/>
              </a:spcBef>
              <a:spcAft>
                <a:spcPts val="0"/>
              </a:spcAft>
              <a:buFont typeface="Arial" panose="020B0604020202020204" pitchFamily="34" charset="0"/>
              <a:buNone/>
              <a:defRPr sz="600" b="1">
                <a:solidFill>
                  <a:schemeClr val="accent1">
                    <a:alpha val="0"/>
                  </a:schemeClr>
                </a:solidFill>
              </a:defRPr>
            </a:lvl1pPr>
            <a:lvl2pPr marL="0" indent="0" algn="ctr">
              <a:spcBef>
                <a:spcPts val="0"/>
              </a:spcBef>
              <a:spcAft>
                <a:spcPts val="0"/>
              </a:spcAft>
              <a:buFont typeface="Arial" panose="020B0604020202020204" pitchFamily="34" charset="0"/>
              <a:buNone/>
              <a:defRPr sz="600" b="1">
                <a:solidFill>
                  <a:schemeClr val="accent1">
                    <a:alpha val="0"/>
                  </a:schemeClr>
                </a:solidFill>
              </a:defRPr>
            </a:lvl2pPr>
            <a:lvl3pPr marL="0" indent="0" algn="ctr">
              <a:spcBef>
                <a:spcPts val="0"/>
              </a:spcBef>
              <a:spcAft>
                <a:spcPts val="0"/>
              </a:spcAft>
              <a:buNone/>
              <a:defRPr sz="600" b="1">
                <a:solidFill>
                  <a:schemeClr val="accent1">
                    <a:alpha val="0"/>
                  </a:schemeClr>
                </a:solidFill>
              </a:defRPr>
            </a:lvl3pPr>
            <a:lvl4pPr marL="0" indent="0" algn="ctr">
              <a:spcBef>
                <a:spcPts val="0"/>
              </a:spcBef>
              <a:spcAft>
                <a:spcPts val="0"/>
              </a:spcAft>
              <a:buNone/>
              <a:defRPr sz="600" b="1">
                <a:solidFill>
                  <a:schemeClr val="accent1">
                    <a:alpha val="0"/>
                  </a:schemeClr>
                </a:solidFill>
              </a:defRPr>
            </a:lvl4pPr>
            <a:lvl5pPr marL="0" indent="0" algn="ctr">
              <a:spcBef>
                <a:spcPts val="0"/>
              </a:spcBef>
              <a:spcAft>
                <a:spcPts val="0"/>
              </a:spcAft>
              <a:buNone/>
              <a:defRPr sz="600" b="1">
                <a:solidFill>
                  <a:schemeClr val="accent1">
                    <a:alpha val="0"/>
                  </a:schemeClr>
                </a:solidFill>
              </a:defRPr>
            </a:lvl5pPr>
            <a:lvl6pPr marL="0" indent="0" algn="ctr">
              <a:spcBef>
                <a:spcPts val="0"/>
              </a:spcBef>
              <a:spcAft>
                <a:spcPts val="0"/>
              </a:spcAft>
              <a:buNone/>
              <a:defRPr sz="600" b="1">
                <a:solidFill>
                  <a:schemeClr val="accent1">
                    <a:alpha val="0"/>
                  </a:schemeClr>
                </a:solidFill>
              </a:defRPr>
            </a:lvl6pPr>
            <a:lvl7pPr marL="0" indent="0" algn="ctr">
              <a:spcBef>
                <a:spcPts val="0"/>
              </a:spcBef>
              <a:spcAft>
                <a:spcPts val="0"/>
              </a:spcAft>
              <a:buNone/>
              <a:defRPr sz="600" b="1">
                <a:solidFill>
                  <a:schemeClr val="accent1">
                    <a:alpha val="0"/>
                  </a:schemeClr>
                </a:solidFill>
              </a:defRPr>
            </a:lvl7pPr>
            <a:lvl8pPr marL="0" indent="0" algn="ctr">
              <a:spcBef>
                <a:spcPts val="0"/>
              </a:spcBef>
              <a:spcAft>
                <a:spcPts val="0"/>
              </a:spcAft>
              <a:buNone/>
              <a:defRPr sz="600" b="1">
                <a:solidFill>
                  <a:schemeClr val="accent1">
                    <a:alpha val="0"/>
                  </a:schemeClr>
                </a:solidFill>
              </a:defRPr>
            </a:lvl8pPr>
            <a:lvl9pPr marL="0" indent="0" algn="ctr">
              <a:spcBef>
                <a:spcPts val="0"/>
              </a:spcBef>
              <a:spcAft>
                <a:spcPts val="0"/>
              </a:spcAft>
              <a:buNone/>
              <a:defRPr sz="600" b="1">
                <a:solidFill>
                  <a:schemeClr val="accent1">
                    <a:alpha val="0"/>
                  </a:schemeClr>
                </a:solidFill>
              </a:defRPr>
            </a:lvl9pPr>
          </a:lstStyle>
          <a:p>
            <a:pPr lvl="0"/>
            <a:r>
              <a:rPr lang="en-US" noProof="0"/>
              <a:t>  </a:t>
            </a:r>
          </a:p>
        </p:txBody>
      </p:sp>
      <p:sp>
        <p:nvSpPr>
          <p:cNvPr id="22" name="Textplatzhalter 21">
            <a:extLst>
              <a:ext uri="{FF2B5EF4-FFF2-40B4-BE49-F238E27FC236}">
                <a16:creationId xmlns:a16="http://schemas.microsoft.com/office/drawing/2014/main" id="{4B17601A-47BC-46EA-BD01-C3C342554615}"/>
              </a:ext>
            </a:extLst>
          </p:cNvPr>
          <p:cNvSpPr>
            <a:spLocks noGrp="1"/>
          </p:cNvSpPr>
          <p:nvPr>
            <p:ph type="body" sz="quarter" idx="23" hasCustomPrompt="1"/>
          </p:nvPr>
        </p:nvSpPr>
        <p:spPr bwMode="gray">
          <a:xfrm>
            <a:off x="11280576" y="5517272"/>
            <a:ext cx="360000" cy="360000"/>
          </a:xfrm>
          <a:custGeom>
            <a:avLst/>
            <a:gdLst/>
            <a:ahLst/>
            <a:cxnLst/>
            <a:rect l="l" t="t" r="r" b="b"/>
            <a:pathLst>
              <a:path w="360000" h="360000">
                <a:moveTo>
                  <a:pt x="170973" y="230510"/>
                </a:moveTo>
                <a:lnTo>
                  <a:pt x="170973" y="261875"/>
                </a:lnTo>
                <a:lnTo>
                  <a:pt x="202338" y="261875"/>
                </a:lnTo>
                <a:lnTo>
                  <a:pt x="202338" y="230510"/>
                </a:lnTo>
                <a:close/>
                <a:moveTo>
                  <a:pt x="169633" y="98239"/>
                </a:moveTo>
                <a:lnTo>
                  <a:pt x="169633" y="136636"/>
                </a:lnTo>
                <a:lnTo>
                  <a:pt x="177782" y="219682"/>
                </a:lnTo>
                <a:lnTo>
                  <a:pt x="195530" y="219682"/>
                </a:lnTo>
                <a:lnTo>
                  <a:pt x="203566" y="136636"/>
                </a:lnTo>
                <a:lnTo>
                  <a:pt x="203566" y="98239"/>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bg1"/>
          </a:solidFill>
        </p:spPr>
        <p:txBody>
          <a:bodyPr wrap="square" anchor="ctr">
            <a:noAutofit/>
          </a:bodyPr>
          <a:lstStyle>
            <a:lvl1pPr marL="0" indent="0" algn="ctr">
              <a:spcBef>
                <a:spcPts val="0"/>
              </a:spcBef>
              <a:spcAft>
                <a:spcPts val="0"/>
              </a:spcAft>
              <a:buFont typeface="Arial" panose="020B0604020202020204" pitchFamily="34" charset="0"/>
              <a:buNone/>
              <a:defRPr sz="600" b="1">
                <a:solidFill>
                  <a:schemeClr val="accent1">
                    <a:alpha val="0"/>
                  </a:schemeClr>
                </a:solidFill>
              </a:defRPr>
            </a:lvl1pPr>
            <a:lvl2pPr marL="0" indent="0" algn="ctr">
              <a:spcBef>
                <a:spcPts val="0"/>
              </a:spcBef>
              <a:spcAft>
                <a:spcPts val="0"/>
              </a:spcAft>
              <a:buFont typeface="Arial" panose="020B0604020202020204" pitchFamily="34" charset="0"/>
              <a:buNone/>
              <a:defRPr sz="600" b="1">
                <a:solidFill>
                  <a:schemeClr val="accent1">
                    <a:alpha val="0"/>
                  </a:schemeClr>
                </a:solidFill>
              </a:defRPr>
            </a:lvl2pPr>
            <a:lvl3pPr marL="0" indent="0" algn="ctr">
              <a:spcBef>
                <a:spcPts val="0"/>
              </a:spcBef>
              <a:spcAft>
                <a:spcPts val="0"/>
              </a:spcAft>
              <a:buNone/>
              <a:defRPr sz="600" b="1">
                <a:solidFill>
                  <a:schemeClr val="accent1">
                    <a:alpha val="0"/>
                  </a:schemeClr>
                </a:solidFill>
              </a:defRPr>
            </a:lvl3pPr>
            <a:lvl4pPr marL="0" indent="0" algn="ctr">
              <a:spcBef>
                <a:spcPts val="0"/>
              </a:spcBef>
              <a:spcAft>
                <a:spcPts val="0"/>
              </a:spcAft>
              <a:buNone/>
              <a:defRPr sz="600" b="1">
                <a:solidFill>
                  <a:schemeClr val="accent1">
                    <a:alpha val="0"/>
                  </a:schemeClr>
                </a:solidFill>
              </a:defRPr>
            </a:lvl4pPr>
            <a:lvl5pPr marL="0" indent="0" algn="ctr">
              <a:spcBef>
                <a:spcPts val="0"/>
              </a:spcBef>
              <a:spcAft>
                <a:spcPts val="0"/>
              </a:spcAft>
              <a:buNone/>
              <a:defRPr sz="600" b="1">
                <a:solidFill>
                  <a:schemeClr val="accent1">
                    <a:alpha val="0"/>
                  </a:schemeClr>
                </a:solidFill>
              </a:defRPr>
            </a:lvl5pPr>
            <a:lvl6pPr marL="0" indent="0" algn="ctr">
              <a:spcBef>
                <a:spcPts val="0"/>
              </a:spcBef>
              <a:spcAft>
                <a:spcPts val="0"/>
              </a:spcAft>
              <a:buNone/>
              <a:defRPr sz="600" b="1">
                <a:solidFill>
                  <a:schemeClr val="accent1">
                    <a:alpha val="0"/>
                  </a:schemeClr>
                </a:solidFill>
              </a:defRPr>
            </a:lvl6pPr>
            <a:lvl7pPr marL="0" indent="0" algn="ctr">
              <a:spcBef>
                <a:spcPts val="0"/>
              </a:spcBef>
              <a:spcAft>
                <a:spcPts val="0"/>
              </a:spcAft>
              <a:buNone/>
              <a:defRPr sz="600" b="1">
                <a:solidFill>
                  <a:schemeClr val="accent1">
                    <a:alpha val="0"/>
                  </a:schemeClr>
                </a:solidFill>
              </a:defRPr>
            </a:lvl7pPr>
            <a:lvl8pPr marL="0" indent="0" algn="ctr">
              <a:spcBef>
                <a:spcPts val="0"/>
              </a:spcBef>
              <a:spcAft>
                <a:spcPts val="0"/>
              </a:spcAft>
              <a:buNone/>
              <a:defRPr sz="600" b="1">
                <a:solidFill>
                  <a:schemeClr val="accent1">
                    <a:alpha val="0"/>
                  </a:schemeClr>
                </a:solidFill>
              </a:defRPr>
            </a:lvl8pPr>
            <a:lvl9pPr marL="0" indent="0" algn="ctr">
              <a:spcBef>
                <a:spcPts val="0"/>
              </a:spcBef>
              <a:spcAft>
                <a:spcPts val="0"/>
              </a:spcAft>
              <a:buNone/>
              <a:defRPr sz="600" b="1">
                <a:solidFill>
                  <a:schemeClr val="accent1">
                    <a:alpha val="0"/>
                  </a:schemeClr>
                </a:solidFill>
              </a:defRPr>
            </a:lvl9pPr>
          </a:lstStyle>
          <a:p>
            <a:pPr lvl="0"/>
            <a:r>
              <a:rPr lang="en-US" noProof="0"/>
              <a:t>  </a:t>
            </a:r>
          </a:p>
        </p:txBody>
      </p:sp>
      <p:sp>
        <p:nvSpPr>
          <p:cNvPr id="14" name="Rechteck 13">
            <a:extLst>
              <a:ext uri="{FF2B5EF4-FFF2-40B4-BE49-F238E27FC236}">
                <a16:creationId xmlns:a16="http://schemas.microsoft.com/office/drawing/2014/main" id="{3812F390-63FB-4AE3-BC59-3393C95532BA}"/>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20" name="Grafik 19">
            <a:extLst>
              <a:ext uri="{FF2B5EF4-FFF2-40B4-BE49-F238E27FC236}">
                <a16:creationId xmlns:a16="http://schemas.microsoft.com/office/drawing/2014/main" id="{A45D6462-5C0E-4F60-88DA-954AEEE19B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1250439767"/>
      </p:ext>
    </p:extLst>
  </p:cSld>
  <p:clrMapOvr>
    <a:masterClrMapping/>
  </p:clrMapOvr>
  <p:extLst>
    <p:ext uri="{DCECCB84-F9BA-43D5-87BE-67443E8EF086}">
      <p15:sldGuideLst xmlns:p15="http://schemas.microsoft.com/office/powerpoint/2012/main">
        <p15:guide id="3" pos="2479" userDrawn="1">
          <p15:clr>
            <a:srgbClr val="FBAE40"/>
          </p15:clr>
        </p15:guide>
        <p15:guide id="4" pos="2706" userDrawn="1">
          <p15:clr>
            <a:srgbClr val="FBAE40"/>
          </p15:clr>
        </p15:guide>
        <p15:guide id="5" pos="4974" userDrawn="1">
          <p15:clr>
            <a:srgbClr val="FBAE40"/>
          </p15:clr>
        </p15:guide>
        <p15:guide id="6" pos="520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s + conclusio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2709328"/>
            <a:ext cx="2520000" cy="36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p>
            <a:fld id="{3B140A39-527A-45CF-A911-B921024B92E6}" type="slidenum">
              <a:rPr lang="en-US" noProof="0" smtClean="0"/>
              <a:t>‹#›</a:t>
            </a:fld>
            <a:endParaRPr lang="en-US" noProof="0"/>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3358934" y="2709328"/>
            <a:ext cx="2520000" cy="36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6311262" y="2709328"/>
            <a:ext cx="2520000" cy="36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Textplatzhalter 14">
            <a:extLst>
              <a:ext uri="{FF2B5EF4-FFF2-40B4-BE49-F238E27FC236}">
                <a16:creationId xmlns:a16="http://schemas.microsoft.com/office/drawing/2014/main" id="{34AEE64C-E843-4352-9F81-8DAA088EB7B0}"/>
              </a:ext>
            </a:extLst>
          </p:cNvPr>
          <p:cNvSpPr>
            <a:spLocks noGrp="1"/>
          </p:cNvSpPr>
          <p:nvPr>
            <p:ph type="body" sz="quarter" idx="15" hasCustomPrompt="1"/>
          </p:nvPr>
        </p:nvSpPr>
        <p:spPr bwMode="gray">
          <a:xfrm>
            <a:off x="9264352" y="1556766"/>
            <a:ext cx="2520000" cy="4824000"/>
          </a:xfrm>
          <a:prstGeom prst="roundRect">
            <a:avLst>
              <a:gd name="adj" fmla="val 4643"/>
            </a:avLst>
          </a:prstGeom>
          <a:solidFill>
            <a:schemeClr val="accent1"/>
          </a:solidFill>
        </p:spPr>
        <p:txBody>
          <a:bodyPr lIns="108000" tIns="72000" rIns="108000" bIns="72000" anchor="ctr"/>
          <a:lstStyle>
            <a:lvl1pPr marL="0" indent="0">
              <a:buFont typeface="Arial" panose="020B0604020202020204" pitchFamily="34" charset="0"/>
              <a:buNone/>
              <a:defRPr sz="2800" b="1">
                <a:solidFill>
                  <a:schemeClr val="bg1"/>
                </a:solidFill>
              </a:defRPr>
            </a:lvl1pPr>
            <a:lvl2pPr marL="0" indent="0">
              <a:buFont typeface="Arial" panose="020B0604020202020204" pitchFamily="34" charset="0"/>
              <a:buNone/>
              <a:defRPr sz="2800" b="1">
                <a:solidFill>
                  <a:schemeClr val="bg1"/>
                </a:solidFill>
              </a:defRPr>
            </a:lvl2pPr>
            <a:lvl3pPr marL="0" indent="0">
              <a:buNone/>
              <a:defRPr sz="2800" b="1">
                <a:solidFill>
                  <a:schemeClr val="bg1"/>
                </a:solidFill>
              </a:defRPr>
            </a:lvl3pPr>
            <a:lvl4pPr marL="0" indent="0">
              <a:buFont typeface="Arial" panose="020B0604020202020204" pitchFamily="34" charset="0"/>
              <a:buNone/>
              <a:defRPr sz="2800" b="1">
                <a:solidFill>
                  <a:schemeClr val="bg1"/>
                </a:solidFill>
              </a:defRPr>
            </a:lvl4pPr>
            <a:lvl5pPr marL="0" indent="0">
              <a:buNone/>
              <a:defRPr sz="2800" b="1">
                <a:solidFill>
                  <a:schemeClr val="bg1"/>
                </a:solidFill>
              </a:defRPr>
            </a:lvl5pPr>
            <a:lvl6pPr marL="0" indent="0">
              <a:buNone/>
              <a:defRPr sz="2800" b="1">
                <a:solidFill>
                  <a:schemeClr val="bg1"/>
                </a:solidFill>
              </a:defRPr>
            </a:lvl6pPr>
            <a:lvl7pPr marL="0" indent="0">
              <a:buNone/>
              <a:defRPr sz="2800" b="1">
                <a:solidFill>
                  <a:schemeClr val="bg1"/>
                </a:solidFill>
              </a:defRPr>
            </a:lvl7pPr>
            <a:lvl8pPr marL="0" indent="0">
              <a:buNone/>
              <a:defRPr sz="2800" b="1">
                <a:solidFill>
                  <a:schemeClr val="bg1"/>
                </a:solidFill>
              </a:defRPr>
            </a:lvl8pPr>
            <a:lvl9pPr marL="0" indent="0">
              <a:buNone/>
              <a:defRPr sz="2800" b="1">
                <a:solidFill>
                  <a:schemeClr val="bg1"/>
                </a:solidFill>
              </a:defRPr>
            </a:lvl9pPr>
          </a:lstStyle>
          <a:p>
            <a:pPr lvl="0"/>
            <a:r>
              <a:rPr lang="en-US" noProof="0"/>
              <a:t>Click to add a conclusion</a:t>
            </a:r>
          </a:p>
        </p:txBody>
      </p:sp>
      <p:sp>
        <p:nvSpPr>
          <p:cNvPr id="19" name="Textplatzhalter 18">
            <a:extLst>
              <a:ext uri="{FF2B5EF4-FFF2-40B4-BE49-F238E27FC236}">
                <a16:creationId xmlns:a16="http://schemas.microsoft.com/office/drawing/2014/main" id="{D593ED01-5E1F-424D-8E62-C67E205635DB}"/>
              </a:ext>
            </a:extLst>
          </p:cNvPr>
          <p:cNvSpPr>
            <a:spLocks noGrp="1"/>
          </p:cNvSpPr>
          <p:nvPr>
            <p:ph type="body" sz="quarter" idx="20" hasCustomPrompt="1"/>
          </p:nvPr>
        </p:nvSpPr>
        <p:spPr bwMode="gray">
          <a:xfrm>
            <a:off x="407988" y="1556792"/>
            <a:ext cx="2520000" cy="971550"/>
          </a:xfrm>
        </p:spPr>
        <p:txBody>
          <a:bodyPr anchor="b"/>
          <a:lstStyle>
            <a:lvl1pPr marL="0" indent="0" algn="l">
              <a:lnSpc>
                <a:spcPct val="100000"/>
              </a:lnSpc>
              <a:spcBef>
                <a:spcPts val="0"/>
              </a:spcBef>
              <a:spcAft>
                <a:spcPts val="0"/>
              </a:spcAft>
              <a:buFont typeface="Arial" panose="020B0604020202020204" pitchFamily="34" charset="0"/>
              <a:buNone/>
              <a:defRPr sz="6600" b="1">
                <a:solidFill>
                  <a:schemeClr val="accent1"/>
                </a:solidFill>
              </a:defRPr>
            </a:lvl1pPr>
            <a:lvl2pPr marL="0" indent="0" algn="l">
              <a:lnSpc>
                <a:spcPct val="100000"/>
              </a:lnSpc>
              <a:spcBef>
                <a:spcPts val="0"/>
              </a:spcBef>
              <a:spcAft>
                <a:spcPts val="0"/>
              </a:spcAft>
              <a:buFont typeface="Arial" panose="020B0604020202020204" pitchFamily="34" charset="0"/>
              <a:buNone/>
              <a:defRPr sz="6600" b="1">
                <a:solidFill>
                  <a:schemeClr val="accent1"/>
                </a:solidFill>
              </a:defRPr>
            </a:lvl2pPr>
            <a:lvl3pPr marL="0" indent="0" algn="l">
              <a:lnSpc>
                <a:spcPct val="100000"/>
              </a:lnSpc>
              <a:spcBef>
                <a:spcPts val="0"/>
              </a:spcBef>
              <a:spcAft>
                <a:spcPts val="0"/>
              </a:spcAft>
              <a:buNone/>
              <a:defRPr sz="6600" b="1">
                <a:solidFill>
                  <a:schemeClr val="accent1"/>
                </a:solidFill>
              </a:defRPr>
            </a:lvl3pPr>
            <a:lvl4pPr marL="0" indent="0" algn="l">
              <a:lnSpc>
                <a:spcPct val="100000"/>
              </a:lnSpc>
              <a:spcBef>
                <a:spcPts val="0"/>
              </a:spcBef>
              <a:spcAft>
                <a:spcPts val="0"/>
              </a:spcAft>
              <a:buNone/>
              <a:defRPr sz="6600" b="1">
                <a:solidFill>
                  <a:schemeClr val="accent1"/>
                </a:solidFill>
              </a:defRPr>
            </a:lvl4pPr>
            <a:lvl5pPr marL="0" indent="0" algn="l">
              <a:lnSpc>
                <a:spcPct val="100000"/>
              </a:lnSpc>
              <a:spcBef>
                <a:spcPts val="0"/>
              </a:spcBef>
              <a:spcAft>
                <a:spcPts val="0"/>
              </a:spcAft>
              <a:buNone/>
              <a:defRPr sz="6600" b="1">
                <a:solidFill>
                  <a:schemeClr val="accent1"/>
                </a:solidFill>
              </a:defRPr>
            </a:lvl5pPr>
            <a:lvl6pPr marL="0" indent="0" algn="l">
              <a:lnSpc>
                <a:spcPct val="100000"/>
              </a:lnSpc>
              <a:spcBef>
                <a:spcPts val="0"/>
              </a:spcBef>
              <a:spcAft>
                <a:spcPts val="0"/>
              </a:spcAft>
              <a:buNone/>
              <a:defRPr sz="6600" b="1">
                <a:solidFill>
                  <a:schemeClr val="accent1"/>
                </a:solidFill>
              </a:defRPr>
            </a:lvl6pPr>
            <a:lvl7pPr marL="0" indent="0" algn="l">
              <a:lnSpc>
                <a:spcPct val="100000"/>
              </a:lnSpc>
              <a:spcBef>
                <a:spcPts val="0"/>
              </a:spcBef>
              <a:spcAft>
                <a:spcPts val="0"/>
              </a:spcAft>
              <a:buNone/>
              <a:defRPr sz="6600" b="1">
                <a:solidFill>
                  <a:schemeClr val="accent1"/>
                </a:solidFill>
              </a:defRPr>
            </a:lvl7pPr>
            <a:lvl8pPr marL="0" indent="0" algn="l">
              <a:lnSpc>
                <a:spcPct val="100000"/>
              </a:lnSpc>
              <a:spcBef>
                <a:spcPts val="0"/>
              </a:spcBef>
              <a:spcAft>
                <a:spcPts val="0"/>
              </a:spcAft>
              <a:buNone/>
              <a:defRPr sz="6600" b="1">
                <a:solidFill>
                  <a:schemeClr val="accent1"/>
                </a:solidFill>
              </a:defRPr>
            </a:lvl8pPr>
            <a:lvl9pPr marL="0" indent="0" algn="l">
              <a:lnSpc>
                <a:spcPct val="100000"/>
              </a:lnSpc>
              <a:spcBef>
                <a:spcPts val="0"/>
              </a:spcBef>
              <a:spcAft>
                <a:spcPts val="0"/>
              </a:spcAft>
              <a:buNone/>
              <a:defRPr sz="6600" b="1">
                <a:solidFill>
                  <a:schemeClr val="accent1"/>
                </a:solidFill>
              </a:defRPr>
            </a:lvl9pPr>
          </a:lstStyle>
          <a:p>
            <a:pPr lvl="0"/>
            <a:r>
              <a:rPr lang="en-US" noProof="0"/>
              <a:t>00</a:t>
            </a:r>
          </a:p>
        </p:txBody>
      </p:sp>
      <p:sp>
        <p:nvSpPr>
          <p:cNvPr id="20" name="Textplatzhalter 18">
            <a:extLst>
              <a:ext uri="{FF2B5EF4-FFF2-40B4-BE49-F238E27FC236}">
                <a16:creationId xmlns:a16="http://schemas.microsoft.com/office/drawing/2014/main" id="{E67A4C0E-DB9D-4694-B5E7-69AE776260BA}"/>
              </a:ext>
            </a:extLst>
          </p:cNvPr>
          <p:cNvSpPr>
            <a:spLocks noGrp="1"/>
          </p:cNvSpPr>
          <p:nvPr>
            <p:ph type="body" sz="quarter" idx="21" hasCustomPrompt="1"/>
          </p:nvPr>
        </p:nvSpPr>
        <p:spPr bwMode="gray">
          <a:xfrm>
            <a:off x="3359976" y="1556817"/>
            <a:ext cx="2520000" cy="971550"/>
          </a:xfrm>
        </p:spPr>
        <p:txBody>
          <a:bodyPr anchor="b"/>
          <a:lstStyle>
            <a:lvl1pPr marL="0" indent="0" algn="l">
              <a:lnSpc>
                <a:spcPct val="100000"/>
              </a:lnSpc>
              <a:spcBef>
                <a:spcPts val="0"/>
              </a:spcBef>
              <a:spcAft>
                <a:spcPts val="0"/>
              </a:spcAft>
              <a:buFont typeface="Arial" panose="020B0604020202020204" pitchFamily="34" charset="0"/>
              <a:buNone/>
              <a:defRPr sz="6600" b="1">
                <a:solidFill>
                  <a:schemeClr val="accent1"/>
                </a:solidFill>
              </a:defRPr>
            </a:lvl1pPr>
            <a:lvl2pPr marL="0" indent="0" algn="l">
              <a:lnSpc>
                <a:spcPct val="100000"/>
              </a:lnSpc>
              <a:spcBef>
                <a:spcPts val="0"/>
              </a:spcBef>
              <a:spcAft>
                <a:spcPts val="0"/>
              </a:spcAft>
              <a:buFont typeface="Arial" panose="020B0604020202020204" pitchFamily="34" charset="0"/>
              <a:buNone/>
              <a:defRPr sz="6600" b="1">
                <a:solidFill>
                  <a:schemeClr val="accent1"/>
                </a:solidFill>
              </a:defRPr>
            </a:lvl2pPr>
            <a:lvl3pPr marL="0" indent="0" algn="l">
              <a:lnSpc>
                <a:spcPct val="100000"/>
              </a:lnSpc>
              <a:spcBef>
                <a:spcPts val="0"/>
              </a:spcBef>
              <a:spcAft>
                <a:spcPts val="0"/>
              </a:spcAft>
              <a:buNone/>
              <a:defRPr sz="6600" b="1">
                <a:solidFill>
                  <a:schemeClr val="accent1"/>
                </a:solidFill>
              </a:defRPr>
            </a:lvl3pPr>
            <a:lvl4pPr marL="0" indent="0" algn="l">
              <a:lnSpc>
                <a:spcPct val="100000"/>
              </a:lnSpc>
              <a:spcBef>
                <a:spcPts val="0"/>
              </a:spcBef>
              <a:spcAft>
                <a:spcPts val="0"/>
              </a:spcAft>
              <a:buNone/>
              <a:defRPr sz="6600" b="1">
                <a:solidFill>
                  <a:schemeClr val="accent1"/>
                </a:solidFill>
              </a:defRPr>
            </a:lvl4pPr>
            <a:lvl5pPr marL="0" indent="0" algn="l">
              <a:lnSpc>
                <a:spcPct val="100000"/>
              </a:lnSpc>
              <a:spcBef>
                <a:spcPts val="0"/>
              </a:spcBef>
              <a:spcAft>
                <a:spcPts val="0"/>
              </a:spcAft>
              <a:buNone/>
              <a:defRPr sz="6600" b="1">
                <a:solidFill>
                  <a:schemeClr val="accent1"/>
                </a:solidFill>
              </a:defRPr>
            </a:lvl5pPr>
            <a:lvl6pPr marL="0" indent="0" algn="l">
              <a:lnSpc>
                <a:spcPct val="100000"/>
              </a:lnSpc>
              <a:spcBef>
                <a:spcPts val="0"/>
              </a:spcBef>
              <a:spcAft>
                <a:spcPts val="0"/>
              </a:spcAft>
              <a:buNone/>
              <a:defRPr sz="6600" b="1">
                <a:solidFill>
                  <a:schemeClr val="accent1"/>
                </a:solidFill>
              </a:defRPr>
            </a:lvl6pPr>
            <a:lvl7pPr marL="0" indent="0" algn="l">
              <a:lnSpc>
                <a:spcPct val="100000"/>
              </a:lnSpc>
              <a:spcBef>
                <a:spcPts val="0"/>
              </a:spcBef>
              <a:spcAft>
                <a:spcPts val="0"/>
              </a:spcAft>
              <a:buNone/>
              <a:defRPr sz="6600" b="1">
                <a:solidFill>
                  <a:schemeClr val="accent1"/>
                </a:solidFill>
              </a:defRPr>
            </a:lvl7pPr>
            <a:lvl8pPr marL="0" indent="0" algn="l">
              <a:lnSpc>
                <a:spcPct val="100000"/>
              </a:lnSpc>
              <a:spcBef>
                <a:spcPts val="0"/>
              </a:spcBef>
              <a:spcAft>
                <a:spcPts val="0"/>
              </a:spcAft>
              <a:buNone/>
              <a:defRPr sz="6600" b="1">
                <a:solidFill>
                  <a:schemeClr val="accent1"/>
                </a:solidFill>
              </a:defRPr>
            </a:lvl8pPr>
            <a:lvl9pPr marL="0" indent="0" algn="l">
              <a:lnSpc>
                <a:spcPct val="100000"/>
              </a:lnSpc>
              <a:spcBef>
                <a:spcPts val="0"/>
              </a:spcBef>
              <a:spcAft>
                <a:spcPts val="0"/>
              </a:spcAft>
              <a:buNone/>
              <a:defRPr sz="6600" b="1">
                <a:solidFill>
                  <a:schemeClr val="accent1"/>
                </a:solidFill>
              </a:defRPr>
            </a:lvl9pPr>
          </a:lstStyle>
          <a:p>
            <a:pPr lvl="0"/>
            <a:r>
              <a:rPr lang="en-US" noProof="0"/>
              <a:t>00</a:t>
            </a:r>
          </a:p>
        </p:txBody>
      </p:sp>
      <p:sp>
        <p:nvSpPr>
          <p:cNvPr id="21" name="Textplatzhalter 18">
            <a:extLst>
              <a:ext uri="{FF2B5EF4-FFF2-40B4-BE49-F238E27FC236}">
                <a16:creationId xmlns:a16="http://schemas.microsoft.com/office/drawing/2014/main" id="{4388F102-CD25-4A51-B32E-69F597E09D5B}"/>
              </a:ext>
            </a:extLst>
          </p:cNvPr>
          <p:cNvSpPr>
            <a:spLocks noGrp="1"/>
          </p:cNvSpPr>
          <p:nvPr>
            <p:ph type="body" sz="quarter" idx="22" hasCustomPrompt="1"/>
          </p:nvPr>
        </p:nvSpPr>
        <p:spPr bwMode="gray">
          <a:xfrm>
            <a:off x="6311262" y="1556817"/>
            <a:ext cx="2520000" cy="971550"/>
          </a:xfrm>
        </p:spPr>
        <p:txBody>
          <a:bodyPr anchor="b"/>
          <a:lstStyle>
            <a:lvl1pPr marL="0" indent="0" algn="l">
              <a:spcBef>
                <a:spcPts val="0"/>
              </a:spcBef>
              <a:spcAft>
                <a:spcPts val="0"/>
              </a:spcAft>
              <a:buFont typeface="Arial" panose="020B0604020202020204" pitchFamily="34" charset="0"/>
              <a:buNone/>
              <a:defRPr sz="6600" b="1">
                <a:solidFill>
                  <a:schemeClr val="accent1"/>
                </a:solidFill>
              </a:defRPr>
            </a:lvl1pPr>
            <a:lvl2pPr marL="0" indent="0" algn="l">
              <a:spcBef>
                <a:spcPts val="0"/>
              </a:spcBef>
              <a:spcAft>
                <a:spcPts val="0"/>
              </a:spcAft>
              <a:buFont typeface="Arial" panose="020B0604020202020204" pitchFamily="34" charset="0"/>
              <a:buNone/>
              <a:defRPr sz="6600" b="1">
                <a:solidFill>
                  <a:schemeClr val="accent1"/>
                </a:solidFill>
              </a:defRPr>
            </a:lvl2pPr>
            <a:lvl3pPr marL="0" indent="0" algn="l">
              <a:spcBef>
                <a:spcPts val="0"/>
              </a:spcBef>
              <a:spcAft>
                <a:spcPts val="0"/>
              </a:spcAft>
              <a:buNone/>
              <a:defRPr sz="6600" b="1">
                <a:solidFill>
                  <a:schemeClr val="accent1"/>
                </a:solidFill>
              </a:defRPr>
            </a:lvl3pPr>
            <a:lvl4pPr marL="0" indent="0" algn="l">
              <a:spcBef>
                <a:spcPts val="0"/>
              </a:spcBef>
              <a:spcAft>
                <a:spcPts val="0"/>
              </a:spcAft>
              <a:buNone/>
              <a:defRPr sz="6600" b="1">
                <a:solidFill>
                  <a:schemeClr val="accent1"/>
                </a:solidFill>
              </a:defRPr>
            </a:lvl4pPr>
            <a:lvl5pPr marL="0" indent="0" algn="l">
              <a:spcBef>
                <a:spcPts val="0"/>
              </a:spcBef>
              <a:spcAft>
                <a:spcPts val="0"/>
              </a:spcAft>
              <a:buNone/>
              <a:defRPr sz="6600" b="1">
                <a:solidFill>
                  <a:schemeClr val="accent1"/>
                </a:solidFill>
              </a:defRPr>
            </a:lvl5pPr>
            <a:lvl6pPr marL="0" indent="0" algn="l">
              <a:spcBef>
                <a:spcPts val="0"/>
              </a:spcBef>
              <a:spcAft>
                <a:spcPts val="0"/>
              </a:spcAft>
              <a:buNone/>
              <a:defRPr sz="6600" b="1">
                <a:solidFill>
                  <a:schemeClr val="accent1"/>
                </a:solidFill>
              </a:defRPr>
            </a:lvl6pPr>
            <a:lvl7pPr marL="0" indent="0" algn="l">
              <a:spcBef>
                <a:spcPts val="0"/>
              </a:spcBef>
              <a:spcAft>
                <a:spcPts val="0"/>
              </a:spcAft>
              <a:buNone/>
              <a:defRPr sz="6600" b="1">
                <a:solidFill>
                  <a:schemeClr val="accent1"/>
                </a:solidFill>
              </a:defRPr>
            </a:lvl7pPr>
            <a:lvl8pPr marL="0" indent="0" algn="l">
              <a:spcBef>
                <a:spcPts val="0"/>
              </a:spcBef>
              <a:spcAft>
                <a:spcPts val="0"/>
              </a:spcAft>
              <a:buNone/>
              <a:defRPr sz="6600" b="1">
                <a:solidFill>
                  <a:schemeClr val="accent1"/>
                </a:solidFill>
              </a:defRPr>
            </a:lvl8pPr>
            <a:lvl9pPr marL="0" indent="0" algn="l">
              <a:spcBef>
                <a:spcPts val="0"/>
              </a:spcBef>
              <a:spcAft>
                <a:spcPts val="0"/>
              </a:spcAft>
              <a:buNone/>
              <a:defRPr sz="6600" b="1">
                <a:solidFill>
                  <a:schemeClr val="accent1"/>
                </a:solidFill>
              </a:defRPr>
            </a:lvl9pPr>
          </a:lstStyle>
          <a:p>
            <a:pPr lvl="0"/>
            <a:r>
              <a:rPr lang="en-US" noProof="0"/>
              <a:t>00</a:t>
            </a:r>
          </a:p>
        </p:txBody>
      </p:sp>
      <p:sp>
        <p:nvSpPr>
          <p:cNvPr id="23" name="Textplatzhalter 22">
            <a:extLst>
              <a:ext uri="{FF2B5EF4-FFF2-40B4-BE49-F238E27FC236}">
                <a16:creationId xmlns:a16="http://schemas.microsoft.com/office/drawing/2014/main" id="{8A44D674-4F8F-4C4D-9409-846336D2380C}"/>
              </a:ext>
            </a:extLst>
          </p:cNvPr>
          <p:cNvSpPr>
            <a:spLocks noGrp="1"/>
          </p:cNvSpPr>
          <p:nvPr>
            <p:ph type="body" sz="quarter" idx="23" hasCustomPrompt="1"/>
          </p:nvPr>
        </p:nvSpPr>
        <p:spPr bwMode="gray">
          <a:xfrm>
            <a:off x="407988" y="2546904"/>
            <a:ext cx="2520000" cy="18000"/>
          </a:xfrm>
          <a:solidFill>
            <a:schemeClr val="accent1"/>
          </a:solidFill>
          <a:ln>
            <a:noFill/>
          </a:ln>
        </p:spPr>
        <p:txBody>
          <a:bodyPr/>
          <a:lstStyle>
            <a:lvl1pPr marL="0" indent="0" algn="ctr">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accent1">
                    <a:alpha val="0"/>
                  </a:schemeClr>
                </a:solidFill>
              </a:defRPr>
            </a:lvl2pPr>
            <a:lvl3pPr marL="0" indent="0" algn="ctr">
              <a:spcBef>
                <a:spcPts val="0"/>
              </a:spcBef>
              <a:spcAft>
                <a:spcPts val="0"/>
              </a:spcAft>
              <a:buNone/>
              <a:defRPr sz="600">
                <a:solidFill>
                  <a:schemeClr val="accent1">
                    <a:alpha val="0"/>
                  </a:schemeClr>
                </a:solidFill>
              </a:defRPr>
            </a:lvl3pPr>
            <a:lvl4pPr marL="0" indent="0" algn="ctr">
              <a:spcBef>
                <a:spcPts val="0"/>
              </a:spcBef>
              <a:spcAft>
                <a:spcPts val="0"/>
              </a:spcAft>
              <a:buNone/>
              <a:defRPr sz="600">
                <a:solidFill>
                  <a:schemeClr val="accent1">
                    <a:alpha val="0"/>
                  </a:schemeClr>
                </a:solidFill>
              </a:defRPr>
            </a:lvl4pPr>
            <a:lvl5pPr marL="0" indent="0" algn="ctr">
              <a:spcBef>
                <a:spcPts val="0"/>
              </a:spcBef>
              <a:spcAft>
                <a:spcPts val="0"/>
              </a:spcAft>
              <a:buNone/>
              <a:defRPr sz="600">
                <a:solidFill>
                  <a:schemeClr val="accent1">
                    <a:alpha val="0"/>
                  </a:schemeClr>
                </a:solidFill>
              </a:defRPr>
            </a:lvl5pPr>
            <a:lvl6pPr marL="0" indent="0" algn="ctr">
              <a:spcBef>
                <a:spcPts val="0"/>
              </a:spcBef>
              <a:spcAft>
                <a:spcPts val="0"/>
              </a:spcAft>
              <a:buNone/>
              <a:defRPr sz="600">
                <a:solidFill>
                  <a:schemeClr val="accent1">
                    <a:alpha val="0"/>
                  </a:schemeClr>
                </a:solidFill>
              </a:defRPr>
            </a:lvl6pPr>
            <a:lvl7pPr marL="0" indent="0" algn="ctr">
              <a:spcBef>
                <a:spcPts val="0"/>
              </a:spcBef>
              <a:spcAft>
                <a:spcPts val="0"/>
              </a:spcAft>
              <a:buNone/>
              <a:defRPr sz="600">
                <a:solidFill>
                  <a:schemeClr val="accent1">
                    <a:alpha val="0"/>
                  </a:schemeClr>
                </a:solidFill>
              </a:defRPr>
            </a:lvl7pPr>
            <a:lvl8pPr marL="0" indent="0" algn="ctr">
              <a:spcBef>
                <a:spcPts val="0"/>
              </a:spcBef>
              <a:spcAft>
                <a:spcPts val="0"/>
              </a:spcAft>
              <a:buNone/>
              <a:defRPr sz="600">
                <a:solidFill>
                  <a:schemeClr val="accent1">
                    <a:alpha val="0"/>
                  </a:schemeClr>
                </a:solidFill>
              </a:defRPr>
            </a:lvl8pPr>
            <a:lvl9pPr marL="0" indent="0" algn="ctr">
              <a:spcBef>
                <a:spcPts val="0"/>
              </a:spcBef>
              <a:spcAft>
                <a:spcPts val="0"/>
              </a:spcAft>
              <a:buNone/>
              <a:defRPr sz="600">
                <a:solidFill>
                  <a:schemeClr val="accent1">
                    <a:alpha val="0"/>
                  </a:schemeClr>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24" name="Textplatzhalter 22">
            <a:extLst>
              <a:ext uri="{FF2B5EF4-FFF2-40B4-BE49-F238E27FC236}">
                <a16:creationId xmlns:a16="http://schemas.microsoft.com/office/drawing/2014/main" id="{7B44E8C3-302C-4117-A4BE-81601FD1AEE7}"/>
              </a:ext>
            </a:extLst>
          </p:cNvPr>
          <p:cNvSpPr>
            <a:spLocks noGrp="1"/>
          </p:cNvSpPr>
          <p:nvPr>
            <p:ph type="body" sz="quarter" idx="24" hasCustomPrompt="1"/>
          </p:nvPr>
        </p:nvSpPr>
        <p:spPr bwMode="gray">
          <a:xfrm>
            <a:off x="3359976" y="2546904"/>
            <a:ext cx="2520000" cy="18000"/>
          </a:xfrm>
          <a:solidFill>
            <a:schemeClr val="accent1"/>
          </a:solidFill>
          <a:ln>
            <a:noFill/>
          </a:ln>
        </p:spPr>
        <p:txBody>
          <a:bodyPr/>
          <a:lstStyle>
            <a:lvl1pPr marL="0" indent="0" algn="ctr">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accent1">
                    <a:alpha val="0"/>
                  </a:schemeClr>
                </a:solidFill>
              </a:defRPr>
            </a:lvl2pPr>
            <a:lvl3pPr marL="0" indent="0" algn="ctr">
              <a:spcBef>
                <a:spcPts val="0"/>
              </a:spcBef>
              <a:spcAft>
                <a:spcPts val="0"/>
              </a:spcAft>
              <a:buNone/>
              <a:defRPr sz="600">
                <a:solidFill>
                  <a:schemeClr val="accent1">
                    <a:alpha val="0"/>
                  </a:schemeClr>
                </a:solidFill>
              </a:defRPr>
            </a:lvl3pPr>
            <a:lvl4pPr marL="0" indent="0" algn="ctr">
              <a:spcBef>
                <a:spcPts val="0"/>
              </a:spcBef>
              <a:spcAft>
                <a:spcPts val="0"/>
              </a:spcAft>
              <a:buNone/>
              <a:defRPr sz="600">
                <a:solidFill>
                  <a:schemeClr val="accent1">
                    <a:alpha val="0"/>
                  </a:schemeClr>
                </a:solidFill>
              </a:defRPr>
            </a:lvl4pPr>
            <a:lvl5pPr marL="0" indent="0" algn="ctr">
              <a:spcBef>
                <a:spcPts val="0"/>
              </a:spcBef>
              <a:spcAft>
                <a:spcPts val="0"/>
              </a:spcAft>
              <a:buNone/>
              <a:defRPr sz="600">
                <a:solidFill>
                  <a:schemeClr val="accent1">
                    <a:alpha val="0"/>
                  </a:schemeClr>
                </a:solidFill>
              </a:defRPr>
            </a:lvl5pPr>
            <a:lvl6pPr marL="0" indent="0" algn="ctr">
              <a:spcBef>
                <a:spcPts val="0"/>
              </a:spcBef>
              <a:spcAft>
                <a:spcPts val="0"/>
              </a:spcAft>
              <a:buNone/>
              <a:defRPr sz="600">
                <a:solidFill>
                  <a:schemeClr val="accent1">
                    <a:alpha val="0"/>
                  </a:schemeClr>
                </a:solidFill>
              </a:defRPr>
            </a:lvl6pPr>
            <a:lvl7pPr marL="0" indent="0" algn="ctr">
              <a:spcBef>
                <a:spcPts val="0"/>
              </a:spcBef>
              <a:spcAft>
                <a:spcPts val="0"/>
              </a:spcAft>
              <a:buNone/>
              <a:defRPr sz="600">
                <a:solidFill>
                  <a:schemeClr val="accent1">
                    <a:alpha val="0"/>
                  </a:schemeClr>
                </a:solidFill>
              </a:defRPr>
            </a:lvl7pPr>
            <a:lvl8pPr marL="0" indent="0" algn="ctr">
              <a:spcBef>
                <a:spcPts val="0"/>
              </a:spcBef>
              <a:spcAft>
                <a:spcPts val="0"/>
              </a:spcAft>
              <a:buNone/>
              <a:defRPr sz="600">
                <a:solidFill>
                  <a:schemeClr val="accent1">
                    <a:alpha val="0"/>
                  </a:schemeClr>
                </a:solidFill>
              </a:defRPr>
            </a:lvl8pPr>
            <a:lvl9pPr marL="0" indent="0" algn="ctr">
              <a:spcBef>
                <a:spcPts val="0"/>
              </a:spcBef>
              <a:spcAft>
                <a:spcPts val="0"/>
              </a:spcAft>
              <a:buNone/>
              <a:defRPr sz="600">
                <a:solidFill>
                  <a:schemeClr val="accent1">
                    <a:alpha val="0"/>
                  </a:schemeClr>
                </a:solidFill>
              </a:defRPr>
            </a:lvl9pPr>
          </a:lstStyle>
          <a:p>
            <a:pPr lvl="0"/>
            <a:r>
              <a:rPr lang="en-US" noProof="0"/>
              <a:t>  </a:t>
            </a:r>
          </a:p>
        </p:txBody>
      </p:sp>
      <p:sp>
        <p:nvSpPr>
          <p:cNvPr id="25" name="Textplatzhalter 22">
            <a:extLst>
              <a:ext uri="{FF2B5EF4-FFF2-40B4-BE49-F238E27FC236}">
                <a16:creationId xmlns:a16="http://schemas.microsoft.com/office/drawing/2014/main" id="{181552F9-53D1-4345-94C5-9FB68BDE30EA}"/>
              </a:ext>
            </a:extLst>
          </p:cNvPr>
          <p:cNvSpPr>
            <a:spLocks noGrp="1"/>
          </p:cNvSpPr>
          <p:nvPr>
            <p:ph type="body" sz="quarter" idx="25" hasCustomPrompt="1"/>
          </p:nvPr>
        </p:nvSpPr>
        <p:spPr bwMode="gray">
          <a:xfrm>
            <a:off x="6312304" y="2546904"/>
            <a:ext cx="2520000" cy="18000"/>
          </a:xfrm>
          <a:solidFill>
            <a:schemeClr val="accent1"/>
          </a:solidFill>
          <a:ln>
            <a:noFill/>
          </a:ln>
        </p:spPr>
        <p:txBody>
          <a:bodyPr/>
          <a:lstStyle>
            <a:lvl1pPr marL="0" indent="0" algn="ctr">
              <a:spcBef>
                <a:spcPts val="0"/>
              </a:spcBef>
              <a:spcAft>
                <a:spcPts val="0"/>
              </a:spcAft>
              <a:buFont typeface="Arial" panose="020B0604020202020204" pitchFamily="34" charset="0"/>
              <a:buNone/>
              <a:defRPr sz="600" b="0">
                <a:solidFill>
                  <a:schemeClr val="accent1">
                    <a:alpha val="0"/>
                  </a:schemeClr>
                </a:solidFill>
              </a:defRPr>
            </a:lvl1pPr>
            <a:lvl2pPr marL="0" indent="0" algn="ctr">
              <a:spcBef>
                <a:spcPts val="0"/>
              </a:spcBef>
              <a:spcAft>
                <a:spcPts val="0"/>
              </a:spcAft>
              <a:buFont typeface="Arial" panose="020B0604020202020204" pitchFamily="34" charset="0"/>
              <a:buNone/>
              <a:defRPr sz="600" b="0">
                <a:solidFill>
                  <a:schemeClr val="accent1">
                    <a:alpha val="0"/>
                  </a:schemeClr>
                </a:solidFill>
              </a:defRPr>
            </a:lvl2pPr>
            <a:lvl3pPr marL="0" indent="0" algn="ctr">
              <a:spcBef>
                <a:spcPts val="0"/>
              </a:spcBef>
              <a:spcAft>
                <a:spcPts val="0"/>
              </a:spcAft>
              <a:buNone/>
              <a:defRPr sz="600" b="0">
                <a:solidFill>
                  <a:schemeClr val="accent1">
                    <a:alpha val="0"/>
                  </a:schemeClr>
                </a:solidFill>
              </a:defRPr>
            </a:lvl3pPr>
            <a:lvl4pPr marL="0" indent="0" algn="ctr">
              <a:spcBef>
                <a:spcPts val="0"/>
              </a:spcBef>
              <a:spcAft>
                <a:spcPts val="0"/>
              </a:spcAft>
              <a:buNone/>
              <a:defRPr sz="600" b="0">
                <a:solidFill>
                  <a:schemeClr val="accent1">
                    <a:alpha val="0"/>
                  </a:schemeClr>
                </a:solidFill>
              </a:defRPr>
            </a:lvl4pPr>
            <a:lvl5pPr marL="0" indent="0" algn="ctr">
              <a:spcBef>
                <a:spcPts val="0"/>
              </a:spcBef>
              <a:spcAft>
                <a:spcPts val="0"/>
              </a:spcAft>
              <a:buNone/>
              <a:defRPr sz="600" b="0">
                <a:solidFill>
                  <a:schemeClr val="accent1">
                    <a:alpha val="0"/>
                  </a:schemeClr>
                </a:solidFill>
              </a:defRPr>
            </a:lvl5pPr>
            <a:lvl6pPr marL="0" indent="0" algn="ctr">
              <a:spcBef>
                <a:spcPts val="0"/>
              </a:spcBef>
              <a:spcAft>
                <a:spcPts val="0"/>
              </a:spcAft>
              <a:buNone/>
              <a:defRPr sz="600" b="0">
                <a:solidFill>
                  <a:schemeClr val="accent1">
                    <a:alpha val="0"/>
                  </a:schemeClr>
                </a:solidFill>
              </a:defRPr>
            </a:lvl6pPr>
            <a:lvl7pPr marL="0" indent="0" algn="ctr">
              <a:spcBef>
                <a:spcPts val="0"/>
              </a:spcBef>
              <a:spcAft>
                <a:spcPts val="0"/>
              </a:spcAft>
              <a:buNone/>
              <a:defRPr sz="600" b="0">
                <a:solidFill>
                  <a:schemeClr val="accent1">
                    <a:alpha val="0"/>
                  </a:schemeClr>
                </a:solidFill>
              </a:defRPr>
            </a:lvl7pPr>
            <a:lvl8pPr marL="0" indent="0" algn="ctr">
              <a:spcBef>
                <a:spcPts val="0"/>
              </a:spcBef>
              <a:spcAft>
                <a:spcPts val="0"/>
              </a:spcAft>
              <a:buNone/>
              <a:defRPr sz="600" b="0">
                <a:solidFill>
                  <a:schemeClr val="accent1">
                    <a:alpha val="0"/>
                  </a:schemeClr>
                </a:solidFill>
              </a:defRPr>
            </a:lvl8pPr>
            <a:lvl9pPr marL="0" indent="0" algn="ctr">
              <a:spcBef>
                <a:spcPts val="0"/>
              </a:spcBef>
              <a:spcAft>
                <a:spcPts val="0"/>
              </a:spcAft>
              <a:buNone/>
              <a:defRPr sz="600" b="0">
                <a:solidFill>
                  <a:schemeClr val="accent1">
                    <a:alpha val="0"/>
                  </a:schemeClr>
                </a:solidFill>
              </a:defRPr>
            </a:lvl9pPr>
          </a:lstStyle>
          <a:p>
            <a:pPr lvl="0"/>
            <a:r>
              <a:rPr lang="en-US" noProof="0"/>
              <a:t>  </a:t>
            </a:r>
          </a:p>
        </p:txBody>
      </p:sp>
      <p:sp>
        <p:nvSpPr>
          <p:cNvPr id="4" name="Fußzeilenplatzhalter 3">
            <a:extLst>
              <a:ext uri="{FF2B5EF4-FFF2-40B4-BE49-F238E27FC236}">
                <a16:creationId xmlns:a16="http://schemas.microsoft.com/office/drawing/2014/main" id="{BCF62B44-2FA7-45C4-A21E-5B9640BD3706}"/>
              </a:ext>
            </a:extLst>
          </p:cNvPr>
          <p:cNvSpPr>
            <a:spLocks noGrp="1"/>
          </p:cNvSpPr>
          <p:nvPr>
            <p:ph type="ftr" sz="quarter" idx="27"/>
          </p:nvPr>
        </p:nvSpPr>
        <p:spPr bwMode="gray"/>
        <p:txBody>
          <a:bodyPr/>
          <a:lstStyle/>
          <a:p>
            <a:r>
              <a:rPr lang="en-GB"/>
              <a:t>BayWa r.e. AG Company Presentation 2024</a:t>
            </a:r>
            <a:endParaRPr lang="en-US"/>
          </a:p>
        </p:txBody>
      </p:sp>
      <p:sp>
        <p:nvSpPr>
          <p:cNvPr id="16" name="Textplatzhalter 15">
            <a:extLst>
              <a:ext uri="{FF2B5EF4-FFF2-40B4-BE49-F238E27FC236}">
                <a16:creationId xmlns:a16="http://schemas.microsoft.com/office/drawing/2014/main" id="{205EA0A7-EF81-4830-A3CB-316F08A491D1}"/>
              </a:ext>
            </a:extLst>
          </p:cNvPr>
          <p:cNvSpPr>
            <a:spLocks noGrp="1"/>
          </p:cNvSpPr>
          <p:nvPr>
            <p:ph type="body" sz="quarter" idx="28" hasCustomPrompt="1"/>
          </p:nvPr>
        </p:nvSpPr>
        <p:spPr bwMode="gray">
          <a:xfrm>
            <a:off x="11280576" y="1700822"/>
            <a:ext cx="360000" cy="360000"/>
          </a:xfrm>
          <a:custGeom>
            <a:avLst/>
            <a:gdLst/>
            <a:ahLst/>
            <a:cxnLst/>
            <a:rect l="l" t="t" r="r" b="b"/>
            <a:pathLst>
              <a:path w="360000" h="360000">
                <a:moveTo>
                  <a:pt x="170973" y="230510"/>
                </a:moveTo>
                <a:lnTo>
                  <a:pt x="170973" y="261875"/>
                </a:lnTo>
                <a:lnTo>
                  <a:pt x="202338" y="261875"/>
                </a:lnTo>
                <a:lnTo>
                  <a:pt x="202338" y="230510"/>
                </a:lnTo>
                <a:close/>
                <a:moveTo>
                  <a:pt x="169633" y="98239"/>
                </a:moveTo>
                <a:lnTo>
                  <a:pt x="169633" y="136636"/>
                </a:lnTo>
                <a:lnTo>
                  <a:pt x="177782" y="219682"/>
                </a:lnTo>
                <a:lnTo>
                  <a:pt x="195530" y="219682"/>
                </a:lnTo>
                <a:lnTo>
                  <a:pt x="203566" y="136636"/>
                </a:lnTo>
                <a:lnTo>
                  <a:pt x="203566" y="98239"/>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bg1"/>
          </a:solidFill>
        </p:spPr>
        <p:txBody>
          <a:bodyPr wrap="square" anchor="ctr">
            <a:noAutofit/>
          </a:bodyPr>
          <a:lstStyle>
            <a:lvl1pPr marL="0" indent="0" algn="ctr">
              <a:spcBef>
                <a:spcPts val="0"/>
              </a:spcBef>
              <a:spcAft>
                <a:spcPts val="0"/>
              </a:spcAft>
              <a:buFont typeface="Arial" panose="020B0604020202020204" pitchFamily="34" charset="0"/>
              <a:buNone/>
              <a:defRPr sz="600" b="1">
                <a:solidFill>
                  <a:schemeClr val="accent1">
                    <a:alpha val="0"/>
                  </a:schemeClr>
                </a:solidFill>
              </a:defRPr>
            </a:lvl1pPr>
            <a:lvl2pPr marL="0" indent="0" algn="ctr">
              <a:spcBef>
                <a:spcPts val="0"/>
              </a:spcBef>
              <a:spcAft>
                <a:spcPts val="0"/>
              </a:spcAft>
              <a:buFont typeface="Arial" panose="020B0604020202020204" pitchFamily="34" charset="0"/>
              <a:buNone/>
              <a:defRPr sz="600" b="1">
                <a:solidFill>
                  <a:schemeClr val="accent1">
                    <a:alpha val="0"/>
                  </a:schemeClr>
                </a:solidFill>
              </a:defRPr>
            </a:lvl2pPr>
            <a:lvl3pPr marL="0" indent="0" algn="ctr">
              <a:spcBef>
                <a:spcPts val="0"/>
              </a:spcBef>
              <a:spcAft>
                <a:spcPts val="0"/>
              </a:spcAft>
              <a:buNone/>
              <a:defRPr sz="600" b="1">
                <a:solidFill>
                  <a:schemeClr val="accent1">
                    <a:alpha val="0"/>
                  </a:schemeClr>
                </a:solidFill>
              </a:defRPr>
            </a:lvl3pPr>
            <a:lvl4pPr marL="0" indent="0" algn="ctr">
              <a:spcBef>
                <a:spcPts val="0"/>
              </a:spcBef>
              <a:spcAft>
                <a:spcPts val="0"/>
              </a:spcAft>
              <a:buNone/>
              <a:defRPr sz="600" b="1">
                <a:solidFill>
                  <a:schemeClr val="accent1">
                    <a:alpha val="0"/>
                  </a:schemeClr>
                </a:solidFill>
              </a:defRPr>
            </a:lvl4pPr>
            <a:lvl5pPr marL="0" indent="0" algn="ctr">
              <a:spcBef>
                <a:spcPts val="0"/>
              </a:spcBef>
              <a:spcAft>
                <a:spcPts val="0"/>
              </a:spcAft>
              <a:buNone/>
              <a:defRPr sz="600" b="1">
                <a:solidFill>
                  <a:schemeClr val="accent1">
                    <a:alpha val="0"/>
                  </a:schemeClr>
                </a:solidFill>
              </a:defRPr>
            </a:lvl5pPr>
            <a:lvl6pPr marL="0" indent="0" algn="ctr">
              <a:spcBef>
                <a:spcPts val="0"/>
              </a:spcBef>
              <a:spcAft>
                <a:spcPts val="0"/>
              </a:spcAft>
              <a:buNone/>
              <a:defRPr sz="600" b="1">
                <a:solidFill>
                  <a:schemeClr val="accent1">
                    <a:alpha val="0"/>
                  </a:schemeClr>
                </a:solidFill>
              </a:defRPr>
            </a:lvl6pPr>
            <a:lvl7pPr marL="0" indent="0" algn="ctr">
              <a:spcBef>
                <a:spcPts val="0"/>
              </a:spcBef>
              <a:spcAft>
                <a:spcPts val="0"/>
              </a:spcAft>
              <a:buNone/>
              <a:defRPr sz="600" b="1">
                <a:solidFill>
                  <a:schemeClr val="accent1">
                    <a:alpha val="0"/>
                  </a:schemeClr>
                </a:solidFill>
              </a:defRPr>
            </a:lvl7pPr>
            <a:lvl8pPr marL="0" indent="0" algn="ctr">
              <a:spcBef>
                <a:spcPts val="0"/>
              </a:spcBef>
              <a:spcAft>
                <a:spcPts val="0"/>
              </a:spcAft>
              <a:buNone/>
              <a:defRPr sz="600" b="1">
                <a:solidFill>
                  <a:schemeClr val="accent1">
                    <a:alpha val="0"/>
                  </a:schemeClr>
                </a:solidFill>
              </a:defRPr>
            </a:lvl8pPr>
            <a:lvl9pPr marL="0" indent="0" algn="ctr">
              <a:spcBef>
                <a:spcPts val="0"/>
              </a:spcBef>
              <a:spcAft>
                <a:spcPts val="0"/>
              </a:spcAft>
              <a:buNone/>
              <a:defRPr sz="600" b="1">
                <a:solidFill>
                  <a:schemeClr val="accent1">
                    <a:alpha val="0"/>
                  </a:schemeClr>
                </a:solidFill>
              </a:defRPr>
            </a:lvl9pPr>
          </a:lstStyle>
          <a:p>
            <a:pPr lvl="0"/>
            <a:r>
              <a:rPr lang="en-US" noProof="0"/>
              <a:t>  </a:t>
            </a:r>
          </a:p>
        </p:txBody>
      </p:sp>
      <p:sp>
        <p:nvSpPr>
          <p:cNvPr id="17" name="Rechteck 16">
            <a:extLst>
              <a:ext uri="{FF2B5EF4-FFF2-40B4-BE49-F238E27FC236}">
                <a16:creationId xmlns:a16="http://schemas.microsoft.com/office/drawing/2014/main" id="{CB03824A-C398-4123-8D32-ABACCF5E7E61}"/>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22" name="Grafik 21">
            <a:extLst>
              <a:ext uri="{FF2B5EF4-FFF2-40B4-BE49-F238E27FC236}">
                <a16:creationId xmlns:a16="http://schemas.microsoft.com/office/drawing/2014/main" id="{B2E56962-922E-4F8C-8C00-580186381C1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2813327431"/>
      </p:ext>
    </p:extLst>
  </p:cSld>
  <p:clrMapOvr>
    <a:masterClrMapping/>
  </p:clrMapOvr>
  <p:extLst>
    <p:ext uri="{DCECCB84-F9BA-43D5-87BE-67443E8EF086}">
      <p15:sldGuideLst xmlns:p15="http://schemas.microsoft.com/office/powerpoint/2012/main">
        <p15:guide id="3" pos="1844">
          <p15:clr>
            <a:srgbClr val="FBAE40"/>
          </p15:clr>
        </p15:guide>
        <p15:guide id="4" pos="2116">
          <p15:clr>
            <a:srgbClr val="FBAE40"/>
          </p15:clr>
        </p15:guide>
        <p15:guide id="5" pos="3704">
          <p15:clr>
            <a:srgbClr val="FBAE40"/>
          </p15:clr>
        </p15:guide>
        <p15:guide id="6" pos="3976">
          <p15:clr>
            <a:srgbClr val="FBAE40"/>
          </p15:clr>
        </p15:guide>
        <p15:guide id="7" pos="5564">
          <p15:clr>
            <a:srgbClr val="FBAE40"/>
          </p15:clr>
        </p15:guide>
        <p15:guide id="8" pos="58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 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1557328"/>
            <a:ext cx="2520000" cy="4824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p>
            <a:fld id="{3B140A39-527A-45CF-A911-B921024B92E6}" type="slidenum">
              <a:rPr lang="en-US" noProof="0" smtClean="0"/>
              <a:t>‹#›</a:t>
            </a:fld>
            <a:endParaRPr lang="en-US" noProof="0"/>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3359976" y="1557328"/>
            <a:ext cx="2520000" cy="4824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6312304" y="1557328"/>
            <a:ext cx="2520000" cy="4824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Inhaltsplatzhalter 2">
            <a:extLst>
              <a:ext uri="{FF2B5EF4-FFF2-40B4-BE49-F238E27FC236}">
                <a16:creationId xmlns:a16="http://schemas.microsoft.com/office/drawing/2014/main" id="{E3BA2021-D33F-458C-BDBB-FFAE6223488E}"/>
              </a:ext>
            </a:extLst>
          </p:cNvPr>
          <p:cNvSpPr>
            <a:spLocks noGrp="1"/>
          </p:cNvSpPr>
          <p:nvPr>
            <p:ph idx="15" hasCustomPrompt="1"/>
          </p:nvPr>
        </p:nvSpPr>
        <p:spPr bwMode="gray">
          <a:xfrm>
            <a:off x="9264632" y="1557328"/>
            <a:ext cx="2520000" cy="4824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Fußzeilenplatzhalter 3">
            <a:extLst>
              <a:ext uri="{FF2B5EF4-FFF2-40B4-BE49-F238E27FC236}">
                <a16:creationId xmlns:a16="http://schemas.microsoft.com/office/drawing/2014/main" id="{CD78A5F6-7BA2-4A48-B255-7F2139D9FFC1}"/>
              </a:ext>
            </a:extLst>
          </p:cNvPr>
          <p:cNvSpPr>
            <a:spLocks noGrp="1"/>
          </p:cNvSpPr>
          <p:nvPr>
            <p:ph type="ftr" sz="quarter" idx="16"/>
          </p:nvPr>
        </p:nvSpPr>
        <p:spPr bwMode="gray"/>
        <p:txBody>
          <a:bodyPr/>
          <a:lstStyle/>
          <a:p>
            <a:r>
              <a:rPr lang="en-GB"/>
              <a:t>BayWa r.e. AG Company Presentation 2024</a:t>
            </a:r>
            <a:endParaRPr lang="en-US"/>
          </a:p>
        </p:txBody>
      </p:sp>
      <p:sp>
        <p:nvSpPr>
          <p:cNvPr id="9" name="Rechteck 8">
            <a:extLst>
              <a:ext uri="{FF2B5EF4-FFF2-40B4-BE49-F238E27FC236}">
                <a16:creationId xmlns:a16="http://schemas.microsoft.com/office/drawing/2014/main" id="{A82D0337-B071-4DDF-86C2-2D94416EF15D}"/>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14" name="Grafik 13">
            <a:extLst>
              <a:ext uri="{FF2B5EF4-FFF2-40B4-BE49-F238E27FC236}">
                <a16:creationId xmlns:a16="http://schemas.microsoft.com/office/drawing/2014/main" id="{9F071632-E51C-4FC8-9CBB-E8ADC7BEF3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1568603338"/>
      </p:ext>
    </p:extLst>
  </p:cSld>
  <p:clrMapOvr>
    <a:masterClrMapping/>
  </p:clrMapOvr>
  <p:extLst>
    <p:ext uri="{DCECCB84-F9BA-43D5-87BE-67443E8EF086}">
      <p15:sldGuideLst xmlns:p15="http://schemas.microsoft.com/office/powerpoint/2012/main">
        <p15:guide id="1" pos="3704">
          <p15:clr>
            <a:srgbClr val="FBAE40"/>
          </p15:clr>
        </p15:guide>
        <p15:guide id="2" pos="3976">
          <p15:clr>
            <a:srgbClr val="FBAE40"/>
          </p15:clr>
        </p15:guide>
        <p15:guide id="3" pos="1844">
          <p15:clr>
            <a:srgbClr val="FBAE40"/>
          </p15:clr>
        </p15:guide>
        <p15:guide id="4" pos="2116">
          <p15:clr>
            <a:srgbClr val="FBAE40"/>
          </p15:clr>
        </p15:guide>
        <p15:guide id="5" pos="5564">
          <p15:clr>
            <a:srgbClr val="FBAE40"/>
          </p15:clr>
        </p15:guide>
        <p15:guide id="6" pos="58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 screensho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331C1-F248-4F9A-B913-1ECF64853F44}"/>
              </a:ext>
            </a:extLst>
          </p:cNvPr>
          <p:cNvSpPr>
            <a:spLocks noGrp="1"/>
          </p:cNvSpPr>
          <p:nvPr>
            <p:ph type="title" hasCustomPrompt="1"/>
          </p:nvPr>
        </p:nvSpPr>
        <p:spPr bwMode="gray"/>
        <p:txBody>
          <a:bodyPr/>
          <a:lstStyle>
            <a:lvl1pPr>
              <a:defRPr/>
            </a:lvl1pPr>
          </a:lstStyle>
          <a:p>
            <a:r>
              <a:rPr lang="en-US" noProof="0"/>
              <a:t>Click to add headline</a:t>
            </a:r>
            <a:endParaRPr lang="en-US"/>
          </a:p>
        </p:txBody>
      </p:sp>
      <p:sp>
        <p:nvSpPr>
          <p:cNvPr id="5" name="Foliennummernplatzhalter 4">
            <a:extLst>
              <a:ext uri="{FF2B5EF4-FFF2-40B4-BE49-F238E27FC236}">
                <a16:creationId xmlns:a16="http://schemas.microsoft.com/office/drawing/2014/main" id="{E08DEEAD-C858-4DE2-9E16-7D3D41A4D7D7}"/>
              </a:ext>
            </a:extLst>
          </p:cNvPr>
          <p:cNvSpPr>
            <a:spLocks noGrp="1"/>
          </p:cNvSpPr>
          <p:nvPr>
            <p:ph type="sldNum" sz="quarter" idx="12"/>
          </p:nvPr>
        </p:nvSpPr>
        <p:spPr bwMode="gray"/>
        <p:txBody>
          <a:bodyPr/>
          <a:lstStyle/>
          <a:p>
            <a:fld id="{3B140A39-527A-45CF-A911-B921024B92E6}" type="slidenum">
              <a:rPr lang="en-US" smtClean="0"/>
              <a:t>‹#›</a:t>
            </a:fld>
            <a:endParaRPr lang="en-US"/>
          </a:p>
        </p:txBody>
      </p:sp>
      <p:pic>
        <p:nvPicPr>
          <p:cNvPr id="6" name="Picture 2" descr="C:\Users\bandelow\Desktop\Zeug\Monitore_Laptop.png">
            <a:extLst>
              <a:ext uri="{FF2B5EF4-FFF2-40B4-BE49-F238E27FC236}">
                <a16:creationId xmlns:a16="http://schemas.microsoft.com/office/drawing/2014/main" id="{CE422849-FBC9-487B-ABCA-17B8177EA7C4}"/>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gray">
          <a:xfrm>
            <a:off x="4479426" y="1556856"/>
            <a:ext cx="7712574" cy="4824472"/>
          </a:xfrm>
          <a:prstGeom prst="rect">
            <a:avLst/>
          </a:prstGeom>
          <a:noFill/>
          <a:effectLst>
            <a:outerShdw blurRad="50800" dist="88900" dir="5400000" sx="99000" sy="99000" algn="t" rotWithShape="0">
              <a:prstClr val="black">
                <a:alpha val="30000"/>
              </a:prstClr>
            </a:outerShdw>
          </a:effectLst>
          <a:extLst>
            <a:ext uri="{909E8E84-426E-40DD-AFC4-6F175D3DCCD1}">
              <a14:hiddenFill xmlns:a14="http://schemas.microsoft.com/office/drawing/2010/main">
                <a:solidFill>
                  <a:srgbClr val="FFFFFF"/>
                </a:solidFill>
              </a14:hiddenFill>
            </a:ext>
          </a:extLst>
        </p:spPr>
      </p:pic>
      <p:sp>
        <p:nvSpPr>
          <p:cNvPr id="9" name="Bildplatzhalter 26">
            <a:extLst>
              <a:ext uri="{FF2B5EF4-FFF2-40B4-BE49-F238E27FC236}">
                <a16:creationId xmlns:a16="http://schemas.microsoft.com/office/drawing/2014/main" id="{7C824190-9AD9-4367-8086-8CCC2E54D073}"/>
              </a:ext>
            </a:extLst>
          </p:cNvPr>
          <p:cNvSpPr>
            <a:spLocks noGrp="1"/>
          </p:cNvSpPr>
          <p:nvPr>
            <p:ph type="pic" sz="quarter" idx="14" hasCustomPrompt="1"/>
          </p:nvPr>
        </p:nvSpPr>
        <p:spPr bwMode="gray">
          <a:xfrm>
            <a:off x="5505450" y="1898286"/>
            <a:ext cx="6336000" cy="3924000"/>
          </a:xfrm>
          <a:solidFill>
            <a:schemeClr val="accent3"/>
          </a:solidFill>
          <a:ln>
            <a:noFill/>
          </a:ln>
        </p:spPr>
        <p:txBody>
          <a:bodyPr tIns="165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screenshot click the icon</a:t>
            </a:r>
          </a:p>
        </p:txBody>
      </p:sp>
      <p:sp>
        <p:nvSpPr>
          <p:cNvPr id="10" name="Inhaltsplatzhalter 2">
            <a:extLst>
              <a:ext uri="{FF2B5EF4-FFF2-40B4-BE49-F238E27FC236}">
                <a16:creationId xmlns:a16="http://schemas.microsoft.com/office/drawing/2014/main" id="{1FD488FB-8431-4D70-A49F-A7D3FB0B81CF}"/>
              </a:ext>
            </a:extLst>
          </p:cNvPr>
          <p:cNvSpPr>
            <a:spLocks noGrp="1"/>
          </p:cNvSpPr>
          <p:nvPr>
            <p:ph idx="1" hasCustomPrompt="1"/>
          </p:nvPr>
        </p:nvSpPr>
        <p:spPr bwMode="gray">
          <a:xfrm>
            <a:off x="407368" y="1556856"/>
            <a:ext cx="3528000" cy="3672000"/>
          </a:xfrm>
        </p:spPr>
        <p:txBody>
          <a:bodyPr/>
          <a:lstStyle>
            <a:lvl1pPr>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platzhalter 14">
            <a:extLst>
              <a:ext uri="{FF2B5EF4-FFF2-40B4-BE49-F238E27FC236}">
                <a16:creationId xmlns:a16="http://schemas.microsoft.com/office/drawing/2014/main" id="{300D3C2B-7C8F-4158-AD1F-472C48DAD1F3}"/>
              </a:ext>
            </a:extLst>
          </p:cNvPr>
          <p:cNvSpPr>
            <a:spLocks noGrp="1"/>
          </p:cNvSpPr>
          <p:nvPr>
            <p:ph type="body" sz="quarter" idx="15" hasCustomPrompt="1"/>
          </p:nvPr>
        </p:nvSpPr>
        <p:spPr bwMode="gray">
          <a:xfrm>
            <a:off x="407859" y="5372598"/>
            <a:ext cx="3528000" cy="1008000"/>
          </a:xfrm>
          <a:prstGeom prst="roundRect">
            <a:avLst>
              <a:gd name="adj" fmla="val 5880"/>
            </a:avLst>
          </a:prstGeom>
          <a:solidFill>
            <a:schemeClr val="accent1"/>
          </a:solidFill>
        </p:spPr>
        <p:txBody>
          <a:bodyPr lIns="108000" tIns="72000" rIns="648000" bIns="72000" anchor="ctr"/>
          <a:lstStyle>
            <a:lvl1pPr marL="0" indent="0">
              <a:spcBef>
                <a:spcPts val="0"/>
              </a:spcBef>
              <a:spcAft>
                <a:spcPts val="0"/>
              </a:spcAft>
              <a:buFont typeface="Arial" panose="020B0604020202020204" pitchFamily="34" charset="0"/>
              <a:buNone/>
              <a:defRPr b="1">
                <a:solidFill>
                  <a:schemeClr val="bg1"/>
                </a:solidFill>
              </a:defRPr>
            </a:lvl1pPr>
            <a:lvl2pPr marL="0" indent="0">
              <a:spcBef>
                <a:spcPts val="0"/>
              </a:spcBef>
              <a:spcAft>
                <a:spcPts val="0"/>
              </a:spcAft>
              <a:buFont typeface="Arial" panose="020B0604020202020204" pitchFamily="34" charset="0"/>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Font typeface="Arial" panose="020B0604020202020204" pitchFamily="34" charset="0"/>
              <a:buNone/>
              <a:defRPr b="1">
                <a:solidFill>
                  <a:schemeClr val="bg1"/>
                </a:solidFill>
              </a:defRPr>
            </a:lvl4pPr>
            <a:lvl5pPr marL="0" indent="0">
              <a:spcBef>
                <a:spcPts val="0"/>
              </a:spcBef>
              <a:spcAft>
                <a:spcPts val="0"/>
              </a:spcAft>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en-US" noProof="0"/>
              <a:t>Click to add a conclusion</a:t>
            </a:r>
          </a:p>
        </p:txBody>
      </p:sp>
      <p:sp>
        <p:nvSpPr>
          <p:cNvPr id="3" name="Fußzeilenplatzhalter 2">
            <a:extLst>
              <a:ext uri="{FF2B5EF4-FFF2-40B4-BE49-F238E27FC236}">
                <a16:creationId xmlns:a16="http://schemas.microsoft.com/office/drawing/2014/main" id="{1799FD28-8A04-451F-8481-7F33C50A752D}"/>
              </a:ext>
            </a:extLst>
          </p:cNvPr>
          <p:cNvSpPr>
            <a:spLocks noGrp="1"/>
          </p:cNvSpPr>
          <p:nvPr>
            <p:ph type="ftr" sz="quarter" idx="19"/>
          </p:nvPr>
        </p:nvSpPr>
        <p:spPr bwMode="gray"/>
        <p:txBody>
          <a:bodyPr/>
          <a:lstStyle/>
          <a:p>
            <a:r>
              <a:rPr lang="en-GB"/>
              <a:t>BayWa r.e. AG Company Presentation 2024</a:t>
            </a:r>
            <a:endParaRPr lang="en-US"/>
          </a:p>
        </p:txBody>
      </p:sp>
      <p:sp>
        <p:nvSpPr>
          <p:cNvPr id="13" name="Textplatzhalter 12">
            <a:extLst>
              <a:ext uri="{FF2B5EF4-FFF2-40B4-BE49-F238E27FC236}">
                <a16:creationId xmlns:a16="http://schemas.microsoft.com/office/drawing/2014/main" id="{27888654-2840-4418-BB9C-CE0F907B255E}"/>
              </a:ext>
            </a:extLst>
          </p:cNvPr>
          <p:cNvSpPr>
            <a:spLocks noGrp="1"/>
          </p:cNvSpPr>
          <p:nvPr>
            <p:ph type="body" sz="quarter" idx="18" hasCustomPrompt="1"/>
          </p:nvPr>
        </p:nvSpPr>
        <p:spPr bwMode="gray">
          <a:xfrm>
            <a:off x="3431704" y="5517336"/>
            <a:ext cx="360000" cy="360000"/>
          </a:xfrm>
          <a:custGeom>
            <a:avLst/>
            <a:gdLst/>
            <a:ahLst/>
            <a:cxnLst/>
            <a:rect l="l" t="t" r="r" b="b"/>
            <a:pathLst>
              <a:path w="360000" h="360000">
                <a:moveTo>
                  <a:pt x="170973" y="230510"/>
                </a:moveTo>
                <a:lnTo>
                  <a:pt x="170973" y="261875"/>
                </a:lnTo>
                <a:lnTo>
                  <a:pt x="202338" y="261875"/>
                </a:lnTo>
                <a:lnTo>
                  <a:pt x="202338" y="230510"/>
                </a:lnTo>
                <a:close/>
                <a:moveTo>
                  <a:pt x="169633" y="98239"/>
                </a:moveTo>
                <a:lnTo>
                  <a:pt x="169633" y="136636"/>
                </a:lnTo>
                <a:lnTo>
                  <a:pt x="177782" y="219682"/>
                </a:lnTo>
                <a:lnTo>
                  <a:pt x="195530" y="219682"/>
                </a:lnTo>
                <a:lnTo>
                  <a:pt x="203566" y="136636"/>
                </a:lnTo>
                <a:lnTo>
                  <a:pt x="203566" y="98239"/>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bg1"/>
          </a:solidFill>
        </p:spPr>
        <p:txBody>
          <a:bodyPr wrap="square" anchor="ctr">
            <a:noAutofit/>
          </a:bodyPr>
          <a:lstStyle>
            <a:lvl1pPr marL="0" indent="0" algn="ctr">
              <a:spcBef>
                <a:spcPts val="0"/>
              </a:spcBef>
              <a:spcAft>
                <a:spcPts val="0"/>
              </a:spcAft>
              <a:buFont typeface="Arial" panose="020B0604020202020204" pitchFamily="34" charset="0"/>
              <a:buNone/>
              <a:defRPr sz="600" b="1">
                <a:solidFill>
                  <a:schemeClr val="accent1">
                    <a:alpha val="0"/>
                  </a:schemeClr>
                </a:solidFill>
              </a:defRPr>
            </a:lvl1pPr>
            <a:lvl2pPr marL="0" indent="0" algn="ctr">
              <a:spcBef>
                <a:spcPts val="0"/>
              </a:spcBef>
              <a:spcAft>
                <a:spcPts val="0"/>
              </a:spcAft>
              <a:buFont typeface="Arial" panose="020B0604020202020204" pitchFamily="34" charset="0"/>
              <a:buNone/>
              <a:defRPr sz="600" b="1">
                <a:solidFill>
                  <a:schemeClr val="accent1">
                    <a:alpha val="0"/>
                  </a:schemeClr>
                </a:solidFill>
              </a:defRPr>
            </a:lvl2pPr>
            <a:lvl3pPr marL="0" indent="0" algn="ctr">
              <a:spcBef>
                <a:spcPts val="0"/>
              </a:spcBef>
              <a:spcAft>
                <a:spcPts val="0"/>
              </a:spcAft>
              <a:buFont typeface="Arial" panose="020B0604020202020204" pitchFamily="34" charset="0"/>
              <a:buNone/>
              <a:defRPr sz="600" b="1">
                <a:solidFill>
                  <a:schemeClr val="accent1">
                    <a:alpha val="0"/>
                  </a:schemeClr>
                </a:solidFill>
              </a:defRPr>
            </a:lvl3pPr>
            <a:lvl4pPr marL="0" indent="0" algn="ctr">
              <a:spcBef>
                <a:spcPts val="0"/>
              </a:spcBef>
              <a:spcAft>
                <a:spcPts val="0"/>
              </a:spcAft>
              <a:buFont typeface="Arial" panose="020B0604020202020204" pitchFamily="34" charset="0"/>
              <a:buNone/>
              <a:defRPr sz="600" b="1">
                <a:solidFill>
                  <a:schemeClr val="accent1">
                    <a:alpha val="0"/>
                  </a:schemeClr>
                </a:solidFill>
              </a:defRPr>
            </a:lvl4pPr>
            <a:lvl5pPr marL="0" indent="0" algn="ctr">
              <a:spcBef>
                <a:spcPts val="0"/>
              </a:spcBef>
              <a:spcAft>
                <a:spcPts val="0"/>
              </a:spcAft>
              <a:buFont typeface="Arial" panose="020B0604020202020204" pitchFamily="34" charset="0"/>
              <a:buNone/>
              <a:defRPr sz="600" b="1">
                <a:solidFill>
                  <a:schemeClr val="accent1">
                    <a:alpha val="0"/>
                  </a:schemeClr>
                </a:solidFill>
              </a:defRPr>
            </a:lvl5pPr>
            <a:lvl6pPr marL="0" indent="0" algn="ctr">
              <a:spcBef>
                <a:spcPts val="0"/>
              </a:spcBef>
              <a:spcAft>
                <a:spcPts val="0"/>
              </a:spcAft>
              <a:buFont typeface="Arial" panose="020B0604020202020204" pitchFamily="34" charset="0"/>
              <a:buNone/>
              <a:defRPr sz="600" b="1">
                <a:solidFill>
                  <a:schemeClr val="accent1">
                    <a:alpha val="0"/>
                  </a:schemeClr>
                </a:solidFill>
              </a:defRPr>
            </a:lvl6pPr>
            <a:lvl7pPr marL="0" indent="0" algn="ctr">
              <a:spcBef>
                <a:spcPts val="0"/>
              </a:spcBef>
              <a:spcAft>
                <a:spcPts val="0"/>
              </a:spcAft>
              <a:buFont typeface="Arial" panose="020B0604020202020204" pitchFamily="34" charset="0"/>
              <a:buNone/>
              <a:defRPr sz="600" b="1">
                <a:solidFill>
                  <a:schemeClr val="accent1">
                    <a:alpha val="0"/>
                  </a:schemeClr>
                </a:solidFill>
              </a:defRPr>
            </a:lvl7pPr>
            <a:lvl8pPr marL="0" indent="0" algn="ctr">
              <a:spcBef>
                <a:spcPts val="0"/>
              </a:spcBef>
              <a:spcAft>
                <a:spcPts val="0"/>
              </a:spcAft>
              <a:buFont typeface="Arial" panose="020B0604020202020204" pitchFamily="34" charset="0"/>
              <a:buNone/>
              <a:defRPr sz="600" b="1">
                <a:solidFill>
                  <a:schemeClr val="accent1">
                    <a:alpha val="0"/>
                  </a:schemeClr>
                </a:solidFill>
              </a:defRPr>
            </a:lvl8pPr>
            <a:lvl9pPr marL="0" indent="0" algn="ctr">
              <a:spcBef>
                <a:spcPts val="0"/>
              </a:spcBef>
              <a:spcAft>
                <a:spcPts val="0"/>
              </a:spcAft>
              <a:buFont typeface="Arial" panose="020B0604020202020204" pitchFamily="34" charset="0"/>
              <a:buNone/>
              <a:defRPr sz="600" b="1">
                <a:solidFill>
                  <a:schemeClr val="accent1">
                    <a:alpha val="0"/>
                  </a:schemeClr>
                </a:solidFill>
              </a:defRPr>
            </a:lvl9pPr>
          </a:lstStyle>
          <a:p>
            <a:pPr lvl="0"/>
            <a:r>
              <a:rPr lang="en-US" noProof="0"/>
              <a:t>  </a:t>
            </a:r>
          </a:p>
        </p:txBody>
      </p:sp>
      <p:sp>
        <p:nvSpPr>
          <p:cNvPr id="12" name="Rechteck 11">
            <a:extLst>
              <a:ext uri="{FF2B5EF4-FFF2-40B4-BE49-F238E27FC236}">
                <a16:creationId xmlns:a16="http://schemas.microsoft.com/office/drawing/2014/main" id="{EF1340F0-ABA7-45CA-A1CC-9F9B87B46378}"/>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15" name="Grafik 14">
            <a:extLst>
              <a:ext uri="{FF2B5EF4-FFF2-40B4-BE49-F238E27FC236}">
                <a16:creationId xmlns:a16="http://schemas.microsoft.com/office/drawing/2014/main" id="{1C1D85E4-5A9E-44F3-83B4-B51C7C53241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2697372726"/>
      </p:ext>
    </p:extLst>
  </p:cSld>
  <p:clrMapOvr>
    <a:masterClrMapping/>
  </p:clrMapOvr>
  <p:extLst>
    <p:ext uri="{DCECCB84-F9BA-43D5-87BE-67443E8EF086}">
      <p15:sldGuideLst xmlns:p15="http://schemas.microsoft.com/office/powerpoint/2012/main">
        <p15:guide id="1" pos="2479" userDrawn="1">
          <p15:clr>
            <a:srgbClr val="FBAE40"/>
          </p15:clr>
        </p15:guide>
        <p15:guide id="2" pos="270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 pictur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1557328"/>
            <a:ext cx="5472000" cy="4824000"/>
          </a:xfrm>
        </p:spPr>
        <p:txBody>
          <a:bodyPr/>
          <a:lstStyle>
            <a:lvl1pPr>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Bildplatzhalter 26">
            <a:extLst>
              <a:ext uri="{FF2B5EF4-FFF2-40B4-BE49-F238E27FC236}">
                <a16:creationId xmlns:a16="http://schemas.microsoft.com/office/drawing/2014/main" id="{0EB1F704-9760-4817-8CE5-8565D5337840}"/>
              </a:ext>
            </a:extLst>
          </p:cNvPr>
          <p:cNvSpPr>
            <a:spLocks noGrp="1"/>
          </p:cNvSpPr>
          <p:nvPr>
            <p:ph type="pic" sz="quarter" idx="10" hasCustomPrompt="1"/>
          </p:nvPr>
        </p:nvSpPr>
        <p:spPr bwMode="gray">
          <a:xfrm>
            <a:off x="6312640" y="0"/>
            <a:ext cx="5879360" cy="6858000"/>
          </a:xfrm>
          <a:solidFill>
            <a:schemeClr val="accent3"/>
          </a:solidFill>
        </p:spPr>
        <p:txBody>
          <a:bodyPr tIns="327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4" name="Titel 3">
            <a:extLst>
              <a:ext uri="{FF2B5EF4-FFF2-40B4-BE49-F238E27FC236}">
                <a16:creationId xmlns:a16="http://schemas.microsoft.com/office/drawing/2014/main" id="{B6530380-BC69-4D52-8EE4-250AB2137154}"/>
              </a:ext>
            </a:extLst>
          </p:cNvPr>
          <p:cNvSpPr>
            <a:spLocks noGrp="1"/>
          </p:cNvSpPr>
          <p:nvPr>
            <p:ph type="title" hasCustomPrompt="1"/>
          </p:nvPr>
        </p:nvSpPr>
        <p:spPr bwMode="gray">
          <a:xfrm>
            <a:off x="407368" y="692696"/>
            <a:ext cx="5472000" cy="648000"/>
          </a:xfrm>
        </p:spPr>
        <p:txBody>
          <a:bodyPr/>
          <a:lstStyle>
            <a:lvl1pPr>
              <a:defRPr/>
            </a:lvl1pPr>
          </a:lstStyle>
          <a:p>
            <a:r>
              <a:rPr lang="en-US" noProof="0"/>
              <a:t>Click to add headline</a:t>
            </a:r>
          </a:p>
        </p:txBody>
      </p:sp>
      <p:sp>
        <p:nvSpPr>
          <p:cNvPr id="10" name="Textplatzhalter 9">
            <a:extLst>
              <a:ext uri="{FF2B5EF4-FFF2-40B4-BE49-F238E27FC236}">
                <a16:creationId xmlns:a16="http://schemas.microsoft.com/office/drawing/2014/main" id="{DB5AD63C-F78D-41D0-BEC5-55935112CA39}"/>
              </a:ext>
            </a:extLst>
          </p:cNvPr>
          <p:cNvSpPr>
            <a:spLocks noGrp="1"/>
          </p:cNvSpPr>
          <p:nvPr>
            <p:ph type="body" sz="quarter" idx="39" hasCustomPrompt="1"/>
          </p:nvPr>
        </p:nvSpPr>
        <p:spPr bwMode="gray">
          <a:xfrm>
            <a:off x="10031412" y="719"/>
            <a:ext cx="2160588" cy="6857999"/>
          </a:xfrm>
          <a:solidFill>
            <a:schemeClr val="accent1">
              <a:alpha val="20000"/>
            </a:schemeClr>
          </a:solidFill>
        </p:spPr>
        <p:txBody>
          <a:bodyPr/>
          <a:lstStyle>
            <a:lvl1pPr>
              <a:defRPr/>
            </a:lvl1pPr>
          </a:lstStyle>
          <a:p>
            <a:pPr lvl="0"/>
            <a:r>
              <a:rPr lang="en-US"/>
              <a:t> </a:t>
            </a:r>
          </a:p>
        </p:txBody>
      </p:sp>
      <p:sp>
        <p:nvSpPr>
          <p:cNvPr id="26" name="Textplatzhalter 25">
            <a:extLst>
              <a:ext uri="{FF2B5EF4-FFF2-40B4-BE49-F238E27FC236}">
                <a16:creationId xmlns:a16="http://schemas.microsoft.com/office/drawing/2014/main" id="{787AB45C-ED76-42BE-B6E6-A0485E00BD4D}"/>
              </a:ext>
            </a:extLst>
          </p:cNvPr>
          <p:cNvSpPr>
            <a:spLocks noGrp="1"/>
          </p:cNvSpPr>
          <p:nvPr>
            <p:ph type="body" sz="quarter" idx="40" hasCustomPrompt="1"/>
          </p:nvPr>
        </p:nvSpPr>
        <p:spPr bwMode="gray">
          <a:xfrm>
            <a:off x="10031412" y="0"/>
            <a:ext cx="2160588" cy="6857999"/>
          </a:xfrm>
          <a:custGeom>
            <a:avLst/>
            <a:gdLst>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0 w 2160588"/>
              <a:gd name="connsiteY4" fmla="*/ 264906 h 6191250"/>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320479 w 2160588"/>
              <a:gd name="connsiteY4" fmla="*/ 0 h 6191250"/>
              <a:gd name="connsiteX0" fmla="*/ 730054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730054 w 2160588"/>
              <a:gd name="connsiteY4" fmla="*/ 0 h 6191250"/>
              <a:gd name="connsiteX0" fmla="*/ 72052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720529 w 2160588"/>
              <a:gd name="connsiteY4" fmla="*/ 0 h 619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588" h="6191250">
                <a:moveTo>
                  <a:pt x="720529" y="0"/>
                </a:moveTo>
                <a:lnTo>
                  <a:pt x="2160588" y="0"/>
                </a:lnTo>
                <a:lnTo>
                  <a:pt x="2160588" y="6191250"/>
                </a:lnTo>
                <a:lnTo>
                  <a:pt x="0" y="6191250"/>
                </a:lnTo>
                <a:lnTo>
                  <a:pt x="720529" y="0"/>
                </a:lnTo>
                <a:close/>
              </a:path>
            </a:pathLst>
          </a:custGeom>
          <a:solidFill>
            <a:schemeClr val="accent1">
              <a:alpha val="60000"/>
            </a:schemeClr>
          </a:solidFill>
        </p:spPr>
        <p:txBody>
          <a:bodyPr wrap="square">
            <a:noAutofit/>
          </a:bodyPr>
          <a:lstStyle>
            <a:lvl1pPr>
              <a:defRPr/>
            </a:lvl1pPr>
          </a:lstStyle>
          <a:p>
            <a:pPr lvl="0"/>
            <a:r>
              <a:rPr lang="en-US"/>
              <a:t> </a:t>
            </a:r>
          </a:p>
        </p:txBody>
      </p:sp>
      <p:sp>
        <p:nvSpPr>
          <p:cNvPr id="27" name="Textplatzhalter 9">
            <a:extLst>
              <a:ext uri="{FF2B5EF4-FFF2-40B4-BE49-F238E27FC236}">
                <a16:creationId xmlns:a16="http://schemas.microsoft.com/office/drawing/2014/main" id="{C780974E-4FC9-4B48-84D2-47CE1BA46FD3}"/>
              </a:ext>
            </a:extLst>
          </p:cNvPr>
          <p:cNvSpPr>
            <a:spLocks noGrp="1"/>
          </p:cNvSpPr>
          <p:nvPr>
            <p:ph type="body" sz="quarter" idx="41" hasCustomPrompt="1"/>
          </p:nvPr>
        </p:nvSpPr>
        <p:spPr bwMode="gray">
          <a:xfrm>
            <a:off x="10751452" y="0"/>
            <a:ext cx="1440548" cy="6857999"/>
          </a:xfrm>
          <a:solidFill>
            <a:schemeClr val="accent1">
              <a:alpha val="60000"/>
            </a:schemeClr>
          </a:solidFill>
        </p:spPr>
        <p:txBody>
          <a:bodyPr/>
          <a:lstStyle>
            <a:lvl1pPr>
              <a:defRPr/>
            </a:lvl1pPr>
          </a:lstStyle>
          <a:p>
            <a:pPr lvl="0"/>
            <a:r>
              <a:rPr lang="en-US"/>
              <a:t> </a:t>
            </a:r>
          </a:p>
        </p:txBody>
      </p:sp>
      <p:sp>
        <p:nvSpPr>
          <p:cNvPr id="28" name="Textplatzhalter 27">
            <a:extLst>
              <a:ext uri="{FF2B5EF4-FFF2-40B4-BE49-F238E27FC236}">
                <a16:creationId xmlns:a16="http://schemas.microsoft.com/office/drawing/2014/main" id="{0B0423C0-E70E-4243-BD1A-2255E1A317F8}"/>
              </a:ext>
            </a:extLst>
          </p:cNvPr>
          <p:cNvSpPr>
            <a:spLocks noGrp="1"/>
          </p:cNvSpPr>
          <p:nvPr>
            <p:ph type="body" sz="quarter" idx="42" hasCustomPrompt="1"/>
          </p:nvPr>
        </p:nvSpPr>
        <p:spPr bwMode="gray">
          <a:xfrm>
            <a:off x="10751442" y="0"/>
            <a:ext cx="1440558" cy="6857999"/>
          </a:xfrm>
          <a:custGeom>
            <a:avLst/>
            <a:gdLst>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0 w 2160588"/>
              <a:gd name="connsiteY4" fmla="*/ 264906 h 6191250"/>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320479 w 2160588"/>
              <a:gd name="connsiteY4" fmla="*/ 0 h 6191250"/>
              <a:gd name="connsiteX0" fmla="*/ 730054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730054 w 2160588"/>
              <a:gd name="connsiteY4" fmla="*/ 0 h 6191250"/>
              <a:gd name="connsiteX0" fmla="*/ 0 w 2160588"/>
              <a:gd name="connsiteY0" fmla="*/ 6191250 h 6191250"/>
              <a:gd name="connsiteX1" fmla="*/ 2160588 w 2160588"/>
              <a:gd name="connsiteY1" fmla="*/ 0 h 6191250"/>
              <a:gd name="connsiteX2" fmla="*/ 2160588 w 2160588"/>
              <a:gd name="connsiteY2" fmla="*/ 6191250 h 6191250"/>
              <a:gd name="connsiteX3" fmla="*/ 0 w 2160588"/>
              <a:gd name="connsiteY3" fmla="*/ 6191250 h 6191250"/>
            </a:gdLst>
            <a:ahLst/>
            <a:cxnLst>
              <a:cxn ang="0">
                <a:pos x="connsiteX0" y="connsiteY0"/>
              </a:cxn>
              <a:cxn ang="0">
                <a:pos x="connsiteX1" y="connsiteY1"/>
              </a:cxn>
              <a:cxn ang="0">
                <a:pos x="connsiteX2" y="connsiteY2"/>
              </a:cxn>
              <a:cxn ang="0">
                <a:pos x="connsiteX3" y="connsiteY3"/>
              </a:cxn>
            </a:cxnLst>
            <a:rect l="l" t="t" r="r" b="b"/>
            <a:pathLst>
              <a:path w="2160588" h="6191250">
                <a:moveTo>
                  <a:pt x="0" y="6191250"/>
                </a:moveTo>
                <a:lnTo>
                  <a:pt x="2160588" y="0"/>
                </a:lnTo>
                <a:lnTo>
                  <a:pt x="2160588" y="6191250"/>
                </a:lnTo>
                <a:lnTo>
                  <a:pt x="0" y="6191250"/>
                </a:lnTo>
                <a:close/>
              </a:path>
            </a:pathLst>
          </a:custGeom>
          <a:solidFill>
            <a:schemeClr val="accent1">
              <a:alpha val="80000"/>
            </a:schemeClr>
          </a:solidFill>
        </p:spPr>
        <p:txBody>
          <a:bodyPr wrap="square">
            <a:noAutofit/>
          </a:bodyPr>
          <a:lstStyle>
            <a:lvl1pPr>
              <a:defRPr/>
            </a:lvl1pPr>
          </a:lstStyle>
          <a:p>
            <a:pPr lvl="0"/>
            <a:r>
              <a:rPr lang="en-US"/>
              <a:t> </a:t>
            </a:r>
          </a:p>
        </p:txBody>
      </p:sp>
      <p:sp>
        <p:nvSpPr>
          <p:cNvPr id="9" name="Rechteck 8">
            <a:extLst>
              <a:ext uri="{FF2B5EF4-FFF2-40B4-BE49-F238E27FC236}">
                <a16:creationId xmlns:a16="http://schemas.microsoft.com/office/drawing/2014/main" id="{9C65694D-0477-4AF0-A6D6-1F6C17F3E3BB}"/>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12" name="Grafik 11">
            <a:extLst>
              <a:ext uri="{FF2B5EF4-FFF2-40B4-BE49-F238E27FC236}">
                <a16:creationId xmlns:a16="http://schemas.microsoft.com/office/drawing/2014/main" id="{4230F4A0-BBF6-4547-8F25-27204796CB9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722727065"/>
      </p:ext>
    </p:extLst>
  </p:cSld>
  <p:clrMapOvr>
    <a:masterClrMapping/>
  </p:clrMapOvr>
  <p:extLst>
    <p:ext uri="{DCECCB84-F9BA-43D5-87BE-67443E8EF086}">
      <p15:sldGuideLst xmlns:p15="http://schemas.microsoft.com/office/powerpoint/2012/main">
        <p15:guide id="1" pos="3704">
          <p15:clr>
            <a:srgbClr val="FBAE40"/>
          </p15:clr>
        </p15:guide>
        <p15:guide id="2" pos="3976">
          <p15:clr>
            <a:srgbClr val="FBAE40"/>
          </p15:clr>
        </p15:guide>
        <p15:guide id="7" pos="656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big picture + fact">
    <p:spTree>
      <p:nvGrpSpPr>
        <p:cNvPr id="1" name=""/>
        <p:cNvGrpSpPr/>
        <p:nvPr/>
      </p:nvGrpSpPr>
      <p:grpSpPr>
        <a:xfrm>
          <a:off x="0" y="0"/>
          <a:ext cx="0" cy="0"/>
          <a:chOff x="0" y="0"/>
          <a:chExt cx="0" cy="0"/>
        </a:xfrm>
      </p:grpSpPr>
      <p:sp>
        <p:nvSpPr>
          <p:cNvPr id="6" name="Bildplatzhalter 26">
            <a:extLst>
              <a:ext uri="{FF2B5EF4-FFF2-40B4-BE49-F238E27FC236}">
                <a16:creationId xmlns:a16="http://schemas.microsoft.com/office/drawing/2014/main" id="{AA83C7F5-CAC0-4B57-8644-C1637EEFAC3C}"/>
              </a:ext>
            </a:extLst>
          </p:cNvPr>
          <p:cNvSpPr>
            <a:spLocks noGrp="1"/>
          </p:cNvSpPr>
          <p:nvPr>
            <p:ph type="pic" sz="quarter" idx="10" hasCustomPrompt="1"/>
          </p:nvPr>
        </p:nvSpPr>
        <p:spPr bwMode="gray">
          <a:xfrm>
            <a:off x="0" y="0"/>
            <a:ext cx="12192000" cy="6858000"/>
          </a:xfrm>
          <a:solidFill>
            <a:schemeClr val="accent3"/>
          </a:solidFill>
        </p:spPr>
        <p:txBody>
          <a:bodyPr tIns="327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15" name="Textplatzhalter 9">
            <a:extLst>
              <a:ext uri="{FF2B5EF4-FFF2-40B4-BE49-F238E27FC236}">
                <a16:creationId xmlns:a16="http://schemas.microsoft.com/office/drawing/2014/main" id="{5AF86170-5B57-43AB-8F27-48C48BA38D48}"/>
              </a:ext>
            </a:extLst>
          </p:cNvPr>
          <p:cNvSpPr>
            <a:spLocks noGrp="1"/>
          </p:cNvSpPr>
          <p:nvPr>
            <p:ph type="body" sz="quarter" idx="39" hasCustomPrompt="1"/>
          </p:nvPr>
        </p:nvSpPr>
        <p:spPr bwMode="gray">
          <a:xfrm>
            <a:off x="10031412" y="719"/>
            <a:ext cx="2160588" cy="6858000"/>
          </a:xfrm>
          <a:solidFill>
            <a:schemeClr val="accent1">
              <a:alpha val="20000"/>
            </a:schemeClr>
          </a:solidFill>
        </p:spPr>
        <p:txBody>
          <a:bodyPr/>
          <a:lstStyle>
            <a:lvl1pPr>
              <a:defRPr/>
            </a:lvl1pPr>
          </a:lstStyle>
          <a:p>
            <a:pPr lvl="0"/>
            <a:r>
              <a:rPr lang="en-US"/>
              <a:t> </a:t>
            </a:r>
          </a:p>
        </p:txBody>
      </p:sp>
      <p:sp>
        <p:nvSpPr>
          <p:cNvPr id="16" name="Textplatzhalter 15">
            <a:extLst>
              <a:ext uri="{FF2B5EF4-FFF2-40B4-BE49-F238E27FC236}">
                <a16:creationId xmlns:a16="http://schemas.microsoft.com/office/drawing/2014/main" id="{01416D22-1341-48EB-B2F1-5F85CAA86415}"/>
              </a:ext>
            </a:extLst>
          </p:cNvPr>
          <p:cNvSpPr>
            <a:spLocks noGrp="1"/>
          </p:cNvSpPr>
          <p:nvPr>
            <p:ph type="body" sz="quarter" idx="40" hasCustomPrompt="1"/>
          </p:nvPr>
        </p:nvSpPr>
        <p:spPr bwMode="gray">
          <a:xfrm>
            <a:off x="10031412" y="0"/>
            <a:ext cx="2160588" cy="6858000"/>
          </a:xfrm>
          <a:custGeom>
            <a:avLst/>
            <a:gdLst>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0 w 2160588"/>
              <a:gd name="connsiteY4" fmla="*/ 264906 h 6191250"/>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320479 w 2160588"/>
              <a:gd name="connsiteY4" fmla="*/ 0 h 6191250"/>
              <a:gd name="connsiteX0" fmla="*/ 730054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730054 w 2160588"/>
              <a:gd name="connsiteY4" fmla="*/ 0 h 619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588" h="6191250">
                <a:moveTo>
                  <a:pt x="730054" y="0"/>
                </a:moveTo>
                <a:lnTo>
                  <a:pt x="2160588" y="0"/>
                </a:lnTo>
                <a:lnTo>
                  <a:pt x="2160588" y="6191250"/>
                </a:lnTo>
                <a:lnTo>
                  <a:pt x="0" y="6191250"/>
                </a:lnTo>
                <a:lnTo>
                  <a:pt x="730054" y="0"/>
                </a:lnTo>
                <a:close/>
              </a:path>
            </a:pathLst>
          </a:custGeom>
          <a:solidFill>
            <a:schemeClr val="accent1">
              <a:alpha val="60000"/>
            </a:schemeClr>
          </a:solidFill>
        </p:spPr>
        <p:txBody>
          <a:bodyPr wrap="square">
            <a:noAutofit/>
          </a:bodyPr>
          <a:lstStyle>
            <a:lvl1pPr>
              <a:defRPr/>
            </a:lvl1pPr>
          </a:lstStyle>
          <a:p>
            <a:pPr lvl="0"/>
            <a:r>
              <a:rPr lang="en-US"/>
              <a:t> </a:t>
            </a:r>
          </a:p>
        </p:txBody>
      </p:sp>
      <p:sp>
        <p:nvSpPr>
          <p:cNvPr id="17" name="Textplatzhalter 9">
            <a:extLst>
              <a:ext uri="{FF2B5EF4-FFF2-40B4-BE49-F238E27FC236}">
                <a16:creationId xmlns:a16="http://schemas.microsoft.com/office/drawing/2014/main" id="{15098878-C239-44C5-95F8-91A76A2702FA}"/>
              </a:ext>
            </a:extLst>
          </p:cNvPr>
          <p:cNvSpPr>
            <a:spLocks noGrp="1"/>
          </p:cNvSpPr>
          <p:nvPr>
            <p:ph type="body" sz="quarter" idx="41" hasCustomPrompt="1"/>
          </p:nvPr>
        </p:nvSpPr>
        <p:spPr bwMode="gray">
          <a:xfrm>
            <a:off x="10751452" y="0"/>
            <a:ext cx="1440548" cy="6858000"/>
          </a:xfrm>
          <a:solidFill>
            <a:schemeClr val="accent1">
              <a:alpha val="60000"/>
            </a:schemeClr>
          </a:solidFill>
        </p:spPr>
        <p:txBody>
          <a:bodyPr/>
          <a:lstStyle>
            <a:lvl1pPr>
              <a:defRPr/>
            </a:lvl1pPr>
          </a:lstStyle>
          <a:p>
            <a:pPr lvl="0"/>
            <a:r>
              <a:rPr lang="en-US"/>
              <a:t> </a:t>
            </a:r>
          </a:p>
        </p:txBody>
      </p:sp>
      <p:sp>
        <p:nvSpPr>
          <p:cNvPr id="18" name="Textplatzhalter 17">
            <a:extLst>
              <a:ext uri="{FF2B5EF4-FFF2-40B4-BE49-F238E27FC236}">
                <a16:creationId xmlns:a16="http://schemas.microsoft.com/office/drawing/2014/main" id="{8BADF262-128E-4A7C-A210-40F8CEF58A48}"/>
              </a:ext>
            </a:extLst>
          </p:cNvPr>
          <p:cNvSpPr>
            <a:spLocks noGrp="1"/>
          </p:cNvSpPr>
          <p:nvPr>
            <p:ph type="body" sz="quarter" idx="42" hasCustomPrompt="1"/>
          </p:nvPr>
        </p:nvSpPr>
        <p:spPr bwMode="gray">
          <a:xfrm>
            <a:off x="10751442" y="0"/>
            <a:ext cx="1440558" cy="6858000"/>
          </a:xfrm>
          <a:custGeom>
            <a:avLst/>
            <a:gdLst>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0 w 2160588"/>
              <a:gd name="connsiteY4" fmla="*/ 264906 h 6191250"/>
              <a:gd name="connsiteX0" fmla="*/ 320479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320479 w 2160588"/>
              <a:gd name="connsiteY4" fmla="*/ 0 h 6191250"/>
              <a:gd name="connsiteX0" fmla="*/ 730054 w 2160588"/>
              <a:gd name="connsiteY0" fmla="*/ 0 h 6191250"/>
              <a:gd name="connsiteX1" fmla="*/ 2160588 w 2160588"/>
              <a:gd name="connsiteY1" fmla="*/ 0 h 6191250"/>
              <a:gd name="connsiteX2" fmla="*/ 2160588 w 2160588"/>
              <a:gd name="connsiteY2" fmla="*/ 6191250 h 6191250"/>
              <a:gd name="connsiteX3" fmla="*/ 0 w 2160588"/>
              <a:gd name="connsiteY3" fmla="*/ 6191250 h 6191250"/>
              <a:gd name="connsiteX4" fmla="*/ 730054 w 2160588"/>
              <a:gd name="connsiteY4" fmla="*/ 0 h 6191250"/>
              <a:gd name="connsiteX0" fmla="*/ 0 w 2160588"/>
              <a:gd name="connsiteY0" fmla="*/ 6191250 h 6191250"/>
              <a:gd name="connsiteX1" fmla="*/ 2160588 w 2160588"/>
              <a:gd name="connsiteY1" fmla="*/ 0 h 6191250"/>
              <a:gd name="connsiteX2" fmla="*/ 2160588 w 2160588"/>
              <a:gd name="connsiteY2" fmla="*/ 6191250 h 6191250"/>
              <a:gd name="connsiteX3" fmla="*/ 0 w 2160588"/>
              <a:gd name="connsiteY3" fmla="*/ 6191250 h 6191250"/>
            </a:gdLst>
            <a:ahLst/>
            <a:cxnLst>
              <a:cxn ang="0">
                <a:pos x="connsiteX0" y="connsiteY0"/>
              </a:cxn>
              <a:cxn ang="0">
                <a:pos x="connsiteX1" y="connsiteY1"/>
              </a:cxn>
              <a:cxn ang="0">
                <a:pos x="connsiteX2" y="connsiteY2"/>
              </a:cxn>
              <a:cxn ang="0">
                <a:pos x="connsiteX3" y="connsiteY3"/>
              </a:cxn>
            </a:cxnLst>
            <a:rect l="l" t="t" r="r" b="b"/>
            <a:pathLst>
              <a:path w="2160588" h="6191250">
                <a:moveTo>
                  <a:pt x="0" y="6191250"/>
                </a:moveTo>
                <a:lnTo>
                  <a:pt x="2160588" y="0"/>
                </a:lnTo>
                <a:lnTo>
                  <a:pt x="2160588" y="6191250"/>
                </a:lnTo>
                <a:lnTo>
                  <a:pt x="0" y="6191250"/>
                </a:lnTo>
                <a:close/>
              </a:path>
            </a:pathLst>
          </a:custGeom>
          <a:solidFill>
            <a:schemeClr val="accent1">
              <a:alpha val="80000"/>
            </a:schemeClr>
          </a:solidFill>
        </p:spPr>
        <p:txBody>
          <a:bodyPr wrap="square">
            <a:noAutofit/>
          </a:bodyPr>
          <a:lstStyle>
            <a:lvl1pPr>
              <a:defRPr/>
            </a:lvl1pPr>
          </a:lstStyle>
          <a:p>
            <a:pPr lvl="0"/>
            <a:r>
              <a:rPr lang="en-US"/>
              <a:t> </a:t>
            </a:r>
          </a:p>
        </p:txBody>
      </p:sp>
      <p:sp>
        <p:nvSpPr>
          <p:cNvPr id="2" name="Titel 1">
            <a:extLst>
              <a:ext uri="{FF2B5EF4-FFF2-40B4-BE49-F238E27FC236}">
                <a16:creationId xmlns:a16="http://schemas.microsoft.com/office/drawing/2014/main" id="{892331C1-F248-4F9A-B913-1ECF64853F44}"/>
              </a:ext>
            </a:extLst>
          </p:cNvPr>
          <p:cNvSpPr>
            <a:spLocks noGrp="1"/>
          </p:cNvSpPr>
          <p:nvPr>
            <p:ph type="title" hasCustomPrompt="1"/>
          </p:nvPr>
        </p:nvSpPr>
        <p:spPr bwMode="gray">
          <a:xfrm>
            <a:off x="4657104" y="4365104"/>
            <a:ext cx="7127528" cy="2016000"/>
          </a:xfrm>
          <a:solidFill>
            <a:schemeClr val="bg1"/>
          </a:solidFill>
        </p:spPr>
        <p:txBody>
          <a:bodyPr lIns="288000" tIns="288000" rIns="288000" bIns="288000"/>
          <a:lstStyle>
            <a:lvl1pPr>
              <a:defRPr baseline="0"/>
            </a:lvl1pPr>
          </a:lstStyle>
          <a:p>
            <a:r>
              <a:rPr lang="en-US" noProof="0"/>
              <a:t>Click to add headline</a:t>
            </a:r>
          </a:p>
        </p:txBody>
      </p:sp>
      <p:sp>
        <p:nvSpPr>
          <p:cNvPr id="37" name="Inhaltsplatzhalter 2">
            <a:extLst>
              <a:ext uri="{FF2B5EF4-FFF2-40B4-BE49-F238E27FC236}">
                <a16:creationId xmlns:a16="http://schemas.microsoft.com/office/drawing/2014/main" id="{D1775ECF-F5E1-4A97-A8F0-5F2D2F77831E}"/>
              </a:ext>
            </a:extLst>
          </p:cNvPr>
          <p:cNvSpPr>
            <a:spLocks noGrp="1"/>
          </p:cNvSpPr>
          <p:nvPr>
            <p:ph idx="1" hasCustomPrompt="1"/>
          </p:nvPr>
        </p:nvSpPr>
        <p:spPr bwMode="gray">
          <a:xfrm>
            <a:off x="4963874" y="5157496"/>
            <a:ext cx="6480000" cy="935800"/>
          </a:xfrm>
        </p:spPr>
        <p:txBody>
          <a:bodyPr/>
          <a:lstStyle>
            <a:lvl1pPr>
              <a:defRPr b="0">
                <a:solidFill>
                  <a:schemeClr val="tx1"/>
                </a:solidFill>
              </a:defRPr>
            </a:lvl1pPr>
            <a:lvl2pPr marL="285750" indent="-285750">
              <a:buClr>
                <a:schemeClr val="accent1"/>
              </a:buClr>
              <a:buFont typeface="Wingdings" panose="05000000000000000000" pitchFamily="2" charset="2"/>
              <a:buChar char="n"/>
              <a:defRPr b="0">
                <a:solidFill>
                  <a:schemeClr val="tx1"/>
                </a:solidFill>
              </a:defRPr>
            </a:lvl2pPr>
            <a:lvl3pPr marL="447675" indent="-180975">
              <a:buClr>
                <a:schemeClr val="tx1"/>
              </a:buClr>
              <a:buFont typeface="Wingdings" panose="05000000000000000000" pitchFamily="2" charset="2"/>
              <a:buChar char="§"/>
              <a:defRPr/>
            </a:lvl3pPr>
            <a:lvl4pPr marL="628650" indent="-180975">
              <a:defRPr/>
            </a:lvl4pPr>
            <a:lvl5pPr marL="809625" indent="-180975">
              <a:defRPr/>
            </a:lvl5pPr>
            <a:lvl6pPr>
              <a:defRPr/>
            </a:lvl6pPr>
            <a:lvl7pPr>
              <a:defRPr/>
            </a:lvl7pPr>
            <a:lvl8pPr>
              <a:defRPr/>
            </a:lvl8pPr>
            <a:lvl9pPr>
              <a:defRPr/>
            </a:lvl9pPr>
          </a:lstStyle>
          <a:p>
            <a:pPr lvl="0"/>
            <a:r>
              <a:rPr lang="en-US" noProof="0"/>
              <a:t>Click to add text</a:t>
            </a:r>
          </a:p>
          <a:p>
            <a:pPr lvl="1"/>
            <a:r>
              <a:rPr lang="en-US" noProof="0"/>
              <a:t>Second level</a:t>
            </a:r>
          </a:p>
        </p:txBody>
      </p:sp>
      <p:sp>
        <p:nvSpPr>
          <p:cNvPr id="38" name="Textplatzhalter 22">
            <a:extLst>
              <a:ext uri="{FF2B5EF4-FFF2-40B4-BE49-F238E27FC236}">
                <a16:creationId xmlns:a16="http://schemas.microsoft.com/office/drawing/2014/main" id="{30481A47-535D-423B-8B92-C68CA7EF7F0E}"/>
              </a:ext>
            </a:extLst>
          </p:cNvPr>
          <p:cNvSpPr>
            <a:spLocks noGrp="1"/>
          </p:cNvSpPr>
          <p:nvPr>
            <p:ph type="body" sz="quarter" idx="23" hasCustomPrompt="1"/>
          </p:nvPr>
        </p:nvSpPr>
        <p:spPr bwMode="gray">
          <a:xfrm>
            <a:off x="4964494" y="5013176"/>
            <a:ext cx="2735262" cy="18000"/>
          </a:xfrm>
          <a:solidFill>
            <a:schemeClr val="accent1"/>
          </a:solidFill>
          <a:ln>
            <a:noFill/>
          </a:ln>
        </p:spPr>
        <p:txBody>
          <a:bodyPr/>
          <a:lstStyle>
            <a:lvl1pPr marL="0" indent="0" algn="ctr">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accent1">
                    <a:alpha val="0"/>
                  </a:schemeClr>
                </a:solidFill>
              </a:defRPr>
            </a:lvl2pPr>
            <a:lvl3pPr marL="0" indent="0" algn="ctr">
              <a:spcBef>
                <a:spcPts val="0"/>
              </a:spcBef>
              <a:spcAft>
                <a:spcPts val="0"/>
              </a:spcAft>
              <a:buNone/>
              <a:defRPr sz="600">
                <a:solidFill>
                  <a:schemeClr val="accent1">
                    <a:alpha val="0"/>
                  </a:schemeClr>
                </a:solidFill>
              </a:defRPr>
            </a:lvl3pPr>
            <a:lvl4pPr marL="0" indent="0" algn="ctr">
              <a:spcBef>
                <a:spcPts val="0"/>
              </a:spcBef>
              <a:spcAft>
                <a:spcPts val="0"/>
              </a:spcAft>
              <a:buNone/>
              <a:defRPr sz="600">
                <a:solidFill>
                  <a:schemeClr val="accent1">
                    <a:alpha val="0"/>
                  </a:schemeClr>
                </a:solidFill>
              </a:defRPr>
            </a:lvl4pPr>
            <a:lvl5pPr marL="0" indent="0" algn="ctr">
              <a:spcBef>
                <a:spcPts val="0"/>
              </a:spcBef>
              <a:spcAft>
                <a:spcPts val="0"/>
              </a:spcAft>
              <a:buNone/>
              <a:defRPr sz="600">
                <a:solidFill>
                  <a:schemeClr val="accent1">
                    <a:alpha val="0"/>
                  </a:schemeClr>
                </a:solidFill>
              </a:defRPr>
            </a:lvl5pPr>
            <a:lvl6pPr marL="0" indent="0" algn="ctr">
              <a:spcBef>
                <a:spcPts val="0"/>
              </a:spcBef>
              <a:spcAft>
                <a:spcPts val="0"/>
              </a:spcAft>
              <a:buNone/>
              <a:defRPr sz="600">
                <a:solidFill>
                  <a:schemeClr val="accent1">
                    <a:alpha val="0"/>
                  </a:schemeClr>
                </a:solidFill>
              </a:defRPr>
            </a:lvl6pPr>
            <a:lvl7pPr marL="0" indent="0" algn="ctr">
              <a:spcBef>
                <a:spcPts val="0"/>
              </a:spcBef>
              <a:spcAft>
                <a:spcPts val="0"/>
              </a:spcAft>
              <a:buNone/>
              <a:defRPr sz="600">
                <a:solidFill>
                  <a:schemeClr val="accent1">
                    <a:alpha val="0"/>
                  </a:schemeClr>
                </a:solidFill>
              </a:defRPr>
            </a:lvl7pPr>
            <a:lvl8pPr marL="0" indent="0" algn="ctr">
              <a:spcBef>
                <a:spcPts val="0"/>
              </a:spcBef>
              <a:spcAft>
                <a:spcPts val="0"/>
              </a:spcAft>
              <a:buNone/>
              <a:defRPr sz="600">
                <a:solidFill>
                  <a:schemeClr val="accent1">
                    <a:alpha val="0"/>
                  </a:schemeClr>
                </a:solidFill>
              </a:defRPr>
            </a:lvl8pPr>
            <a:lvl9pPr marL="0" indent="0" algn="ctr">
              <a:spcBef>
                <a:spcPts val="0"/>
              </a:spcBef>
              <a:spcAft>
                <a:spcPts val="0"/>
              </a:spcAft>
              <a:buNone/>
              <a:defRPr sz="600">
                <a:solidFill>
                  <a:schemeClr val="accent1">
                    <a:alpha val="0"/>
                  </a:schemeClr>
                </a:solidFill>
              </a:defRPr>
            </a:lvl9pPr>
          </a:lstStyle>
          <a:p>
            <a:pPr lvl="0"/>
            <a:r>
              <a:rPr lang="en-US" noProof="0"/>
              <a:t>  </a:t>
            </a:r>
          </a:p>
        </p:txBody>
      </p:sp>
      <p:sp>
        <p:nvSpPr>
          <p:cNvPr id="32" name="Textplatzhalter 3">
            <a:extLst>
              <a:ext uri="{FF2B5EF4-FFF2-40B4-BE49-F238E27FC236}">
                <a16:creationId xmlns:a16="http://schemas.microsoft.com/office/drawing/2014/main" id="{539E49AC-0C55-47AB-B2C2-3E02C44DAC6A}"/>
              </a:ext>
            </a:extLst>
          </p:cNvPr>
          <p:cNvSpPr>
            <a:spLocks noGrp="1"/>
          </p:cNvSpPr>
          <p:nvPr>
            <p:ph type="body" sz="quarter" idx="43" hasCustomPrompt="1"/>
          </p:nvPr>
        </p:nvSpPr>
        <p:spPr bwMode="gray">
          <a:xfrm>
            <a:off x="407988" y="6604793"/>
            <a:ext cx="810000" cy="108000"/>
          </a:xfrm>
          <a: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p>
        </p:txBody>
      </p:sp>
      <p:sp>
        <p:nvSpPr>
          <p:cNvPr id="11" name="Textplatzhalter 9">
            <a:extLst>
              <a:ext uri="{FF2B5EF4-FFF2-40B4-BE49-F238E27FC236}">
                <a16:creationId xmlns:a16="http://schemas.microsoft.com/office/drawing/2014/main" id="{5C4596C8-FF19-466E-B4B9-2A0CED32FFB5}"/>
              </a:ext>
            </a:extLst>
          </p:cNvPr>
          <p:cNvSpPr>
            <a:spLocks noGrp="1"/>
          </p:cNvSpPr>
          <p:nvPr>
            <p:ph type="body" sz="quarter" idx="35" hasCustomPrompt="1"/>
          </p:nvPr>
        </p:nvSpPr>
        <p:spPr bwMode="gray">
          <a:xfrm>
            <a:off x="407368" y="404664"/>
            <a:ext cx="215900" cy="216000"/>
          </a:xfrm>
          <a:blipFill>
            <a:blip r:embed="rId4"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
        <p:nvSpPr>
          <p:cNvPr id="12" name="Rechteck 11">
            <a:extLst>
              <a:ext uri="{FF2B5EF4-FFF2-40B4-BE49-F238E27FC236}">
                <a16:creationId xmlns:a16="http://schemas.microsoft.com/office/drawing/2014/main" id="{B3470053-E058-4D11-93C3-71225489FCA0}"/>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14" name="Grafik 13">
            <a:extLst>
              <a:ext uri="{FF2B5EF4-FFF2-40B4-BE49-F238E27FC236}">
                <a16:creationId xmlns:a16="http://schemas.microsoft.com/office/drawing/2014/main" id="{CD4110AA-C656-46DF-8EC2-46AD7B710FF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51313456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ong title + 1/4 picture">
    <p:bg>
      <p:bgPr>
        <a:solidFill>
          <a:schemeClr val="bg1"/>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D0228D2-9D14-413A-AB7E-524051915A7B}"/>
              </a:ext>
            </a:extLst>
          </p:cNvPr>
          <p:cNvSpPr/>
          <p:nvPr userDrawn="1"/>
        </p:nvSpPr>
        <p:spPr bwMode="gray">
          <a:xfrm>
            <a:off x="0" y="1628775"/>
            <a:ext cx="12192000" cy="52292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Bildplatzhalter 26">
            <a:extLst>
              <a:ext uri="{FF2B5EF4-FFF2-40B4-BE49-F238E27FC236}">
                <a16:creationId xmlns:a16="http://schemas.microsoft.com/office/drawing/2014/main" id="{8E27FC97-AAB3-4AFC-8BE3-9873030F29AC}"/>
              </a:ext>
            </a:extLst>
          </p:cNvPr>
          <p:cNvSpPr>
            <a:spLocks noGrp="1"/>
          </p:cNvSpPr>
          <p:nvPr>
            <p:ph type="pic" sz="quarter" idx="10" hasCustomPrompt="1"/>
          </p:nvPr>
        </p:nvSpPr>
        <p:spPr bwMode="gray">
          <a:xfrm>
            <a:off x="8400256" y="1628775"/>
            <a:ext cx="3791744" cy="5230800"/>
          </a:xfrm>
          <a:solidFill>
            <a:schemeClr val="accent4"/>
          </a:solidFill>
        </p:spPr>
        <p:txBody>
          <a:bodyPr tIns="3096000"/>
          <a:lstStyle>
            <a:lvl1pPr marL="0" indent="0" algn="ctr">
              <a:lnSpc>
                <a:spcPct val="100000"/>
              </a:lnSpc>
              <a:spcBef>
                <a:spcPts val="0"/>
              </a:spcBef>
              <a:spcAft>
                <a:spcPts val="0"/>
              </a:spcAft>
              <a:buFont typeface="Arial" panose="020B0604020202020204" pitchFamily="34" charset="0"/>
              <a:buNone/>
              <a:defRPr sz="800" b="0">
                <a:solidFill>
                  <a:schemeClr val="accent3"/>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Optional: To add a picture click the icon</a:t>
            </a:r>
          </a:p>
        </p:txBody>
      </p:sp>
      <p:sp>
        <p:nvSpPr>
          <p:cNvPr id="4" name="Textplatzhalter 3">
            <a:extLst>
              <a:ext uri="{FF2B5EF4-FFF2-40B4-BE49-F238E27FC236}">
                <a16:creationId xmlns:a16="http://schemas.microsoft.com/office/drawing/2014/main" id="{F0ABA4E6-0523-49AE-B570-6F11E2EDDEB0}"/>
              </a:ext>
            </a:extLst>
          </p:cNvPr>
          <p:cNvSpPr>
            <a:spLocks noGrp="1"/>
          </p:cNvSpPr>
          <p:nvPr>
            <p:ph type="body" sz="quarter" idx="11" hasCustomPrompt="1"/>
          </p:nvPr>
        </p:nvSpPr>
        <p:spPr bwMode="gray">
          <a:xfrm>
            <a:off x="0" y="1628775"/>
            <a:ext cx="10128250" cy="5230800"/>
          </a:xfrm>
          <a:solidFill>
            <a:schemeClr val="accent1">
              <a:alpha val="33000"/>
            </a:schemeClr>
          </a:solidFill>
        </p:spPr>
        <p:txBody>
          <a:bodyPr/>
          <a:lstStyle>
            <a:lvl1pPr>
              <a:lnSpc>
                <a:spcPct val="100000"/>
              </a:lnSpc>
              <a:defRPr/>
            </a:lvl1pPr>
          </a:lstStyle>
          <a:p>
            <a:pPr lvl="0"/>
            <a:r>
              <a:rPr lang="en-US"/>
              <a:t> </a:t>
            </a:r>
          </a:p>
        </p:txBody>
      </p:sp>
      <p:sp>
        <p:nvSpPr>
          <p:cNvPr id="33" name="Textplatzhalter 32">
            <a:extLst>
              <a:ext uri="{FF2B5EF4-FFF2-40B4-BE49-F238E27FC236}">
                <a16:creationId xmlns:a16="http://schemas.microsoft.com/office/drawing/2014/main" id="{B39D4DF4-D6FB-46FE-B465-C1A295607C98}"/>
              </a:ext>
            </a:extLst>
          </p:cNvPr>
          <p:cNvSpPr>
            <a:spLocks noGrp="1"/>
          </p:cNvSpPr>
          <p:nvPr>
            <p:ph type="body" sz="quarter" idx="12" hasCustomPrompt="1"/>
          </p:nvPr>
        </p:nvSpPr>
        <p:spPr bwMode="gray">
          <a:xfrm>
            <a:off x="0" y="1628775"/>
            <a:ext cx="10103570" cy="5229224"/>
          </a:xfrm>
          <a:custGeom>
            <a:avLst/>
            <a:gdLst>
              <a:gd name="connsiteX0" fmla="*/ 0 w 10128250"/>
              <a:gd name="connsiteY0" fmla="*/ 0 h 6858000"/>
              <a:gd name="connsiteX1" fmla="*/ 10128250 w 10128250"/>
              <a:gd name="connsiteY1" fmla="*/ 0 h 6858000"/>
              <a:gd name="connsiteX2" fmla="*/ 10128250 w 10128250"/>
              <a:gd name="connsiteY2" fmla="*/ 6490196 h 6858000"/>
              <a:gd name="connsiteX3" fmla="*/ 9742955 w 10128250"/>
              <a:gd name="connsiteY3" fmla="*/ 6858000 h 6858000"/>
              <a:gd name="connsiteX4" fmla="*/ 0 w 10128250"/>
              <a:gd name="connsiteY4" fmla="*/ 6858000 h 6858000"/>
              <a:gd name="connsiteX0" fmla="*/ 0 w 10128250"/>
              <a:gd name="connsiteY0" fmla="*/ 0 h 6858000"/>
              <a:gd name="connsiteX1" fmla="*/ 10128250 w 10128250"/>
              <a:gd name="connsiteY1" fmla="*/ 0 h 6858000"/>
              <a:gd name="connsiteX2" fmla="*/ 9742955 w 10128250"/>
              <a:gd name="connsiteY2" fmla="*/ 6858000 h 6858000"/>
              <a:gd name="connsiteX3" fmla="*/ 0 w 10128250"/>
              <a:gd name="connsiteY3" fmla="*/ 6858000 h 6858000"/>
              <a:gd name="connsiteX4" fmla="*/ 0 w 10128250"/>
              <a:gd name="connsiteY4" fmla="*/ 0 h 6858000"/>
              <a:gd name="connsiteX0" fmla="*/ 0 w 10128250"/>
              <a:gd name="connsiteY0" fmla="*/ 0 h 6858000"/>
              <a:gd name="connsiteX1" fmla="*/ 10128250 w 10128250"/>
              <a:gd name="connsiteY1" fmla="*/ 0 h 6858000"/>
              <a:gd name="connsiteX2" fmla="*/ 8437723 w 10128250"/>
              <a:gd name="connsiteY2" fmla="*/ 6858000 h 6858000"/>
              <a:gd name="connsiteX3" fmla="*/ 0 w 10128250"/>
              <a:gd name="connsiteY3" fmla="*/ 6858000 h 6858000"/>
              <a:gd name="connsiteX4" fmla="*/ 0 w 101282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8250" h="6858000">
                <a:moveTo>
                  <a:pt x="0" y="0"/>
                </a:moveTo>
                <a:lnTo>
                  <a:pt x="10128250" y="0"/>
                </a:lnTo>
                <a:lnTo>
                  <a:pt x="8437723" y="6858000"/>
                </a:lnTo>
                <a:lnTo>
                  <a:pt x="0" y="6858000"/>
                </a:lnTo>
                <a:lnTo>
                  <a:pt x="0" y="0"/>
                </a:lnTo>
                <a:close/>
              </a:path>
            </a:pathLst>
          </a:custGeom>
          <a:solidFill>
            <a:schemeClr val="accent1">
              <a:alpha val="63000"/>
            </a:schemeClr>
          </a:solidFill>
        </p:spPr>
        <p:txBody>
          <a:bodyPr wrap="square">
            <a:noAutofit/>
          </a:bodyPr>
          <a:lstStyle>
            <a:lvl1pPr>
              <a:lnSpc>
                <a:spcPct val="100000"/>
              </a:lnSpc>
              <a:defRPr/>
            </a:lvl1pPr>
          </a:lstStyle>
          <a:p>
            <a:pPr lvl="0"/>
            <a:r>
              <a:rPr lang="en-US"/>
              <a:t> </a:t>
            </a:r>
          </a:p>
        </p:txBody>
      </p:sp>
      <p:sp>
        <p:nvSpPr>
          <p:cNvPr id="2" name="Titel 1">
            <a:extLst>
              <a:ext uri="{FF2B5EF4-FFF2-40B4-BE49-F238E27FC236}">
                <a16:creationId xmlns:a16="http://schemas.microsoft.com/office/drawing/2014/main" id="{1A7271BF-E425-4962-BFFD-363A0B4BC1CC}"/>
              </a:ext>
            </a:extLst>
          </p:cNvPr>
          <p:cNvSpPr>
            <a:spLocks noGrp="1"/>
          </p:cNvSpPr>
          <p:nvPr userDrawn="1">
            <p:ph type="ctrTitle" hasCustomPrompt="1"/>
          </p:nvPr>
        </p:nvSpPr>
        <p:spPr bwMode="gray">
          <a:xfrm>
            <a:off x="0" y="1628775"/>
            <a:ext cx="8400256" cy="5230800"/>
          </a:xfrm>
          <a:solidFill>
            <a:schemeClr val="accent1"/>
          </a:solidFill>
        </p:spPr>
        <p:txBody>
          <a:bodyPr lIns="396000" tIns="1440000" rIns="396000" bIns="1440000" anchor="b"/>
          <a:lstStyle>
            <a:lvl1pPr algn="l">
              <a:lnSpc>
                <a:spcPct val="100000"/>
              </a:lnSpc>
              <a:defRPr sz="4800">
                <a:solidFill>
                  <a:schemeClr val="bg1"/>
                </a:solidFill>
              </a:defRPr>
            </a:lvl1pPr>
          </a:lstStyle>
          <a:p>
            <a:r>
              <a:rPr lang="en-US" noProof="0"/>
              <a:t>Max. triple-</a:t>
            </a:r>
            <a:br>
              <a:rPr lang="en-US" noProof="0"/>
            </a:br>
            <a:r>
              <a:rPr lang="en-US" noProof="0"/>
              <a:t>spaced title</a:t>
            </a:r>
          </a:p>
        </p:txBody>
      </p:sp>
      <p:pic>
        <p:nvPicPr>
          <p:cNvPr id="8" name="Grafik 7">
            <a:extLst>
              <a:ext uri="{FF2B5EF4-FFF2-40B4-BE49-F238E27FC236}">
                <a16:creationId xmlns:a16="http://schemas.microsoft.com/office/drawing/2014/main" id="{CA14DF4D-718B-45D2-9AC1-C932D315617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gray">
          <a:xfrm>
            <a:off x="413519" y="404664"/>
            <a:ext cx="2016000" cy="484994"/>
          </a:xfrm>
          <a:prstGeom prst="rect">
            <a:avLst/>
          </a:prstGeom>
        </p:spPr>
      </p:pic>
      <p:pic>
        <p:nvPicPr>
          <p:cNvPr id="26" name="Grafik 25">
            <a:extLst>
              <a:ext uri="{FF2B5EF4-FFF2-40B4-BE49-F238E27FC236}">
                <a16:creationId xmlns:a16="http://schemas.microsoft.com/office/drawing/2014/main" id="{98F5AB9F-319F-46D3-8686-F823C3E22EE2}"/>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435542" y="627831"/>
            <a:ext cx="1349090" cy="180000"/>
          </a:xfrm>
          <a:prstGeom prst="rect">
            <a:avLst/>
          </a:prstGeom>
        </p:spPr>
      </p:pic>
    </p:spTree>
    <p:extLst>
      <p:ext uri="{BB962C8B-B14F-4D97-AF65-F5344CB8AC3E}">
        <p14:creationId xmlns:p14="http://schemas.microsoft.com/office/powerpoint/2010/main" val="127751419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45000">
                                      <p:stCondLst>
                                        <p:cond delay="0"/>
                                      </p:stCondLst>
                                      <p:childTnLst>
                                        <p:set>
                                          <p:cBhvr>
                                            <p:cTn id="6" dur="1" fill="hold">
                                              <p:stCondLst>
                                                <p:cond delay="0"/>
                                              </p:stCondLst>
                                            </p:cTn>
                                            <p:tgtEl>
                                              <p:spTgt spid="4">
                                                <p:bg/>
                                              </p:spTgt>
                                            </p:tgtEl>
                                            <p:attrNameLst>
                                              <p:attrName>style.visibility</p:attrName>
                                            </p:attrNameLst>
                                          </p:cBhvr>
                                          <p:to>
                                            <p:strVal val="visible"/>
                                          </p:to>
                                        </p:set>
                                        <p:anim calcmode="lin" valueType="num" p14:bounceEnd="45000">
                                          <p:cBhvr additive="base">
                                            <p:cTn id="7" dur="2000" fill="hold"/>
                                            <p:tgtEl>
                                              <p:spTgt spid="4">
                                                <p:bg/>
                                              </p:spTgt>
                                            </p:tgtEl>
                                            <p:attrNameLst>
                                              <p:attrName>ppt_x</p:attrName>
                                            </p:attrNameLst>
                                          </p:cBhvr>
                                          <p:tavLst>
                                            <p:tav tm="0">
                                              <p:val>
                                                <p:strVal val="0-#ppt_w/2"/>
                                              </p:val>
                                            </p:tav>
                                            <p:tav tm="100000">
                                              <p:val>
                                                <p:strVal val="#ppt_x"/>
                                              </p:val>
                                            </p:tav>
                                          </p:tavLst>
                                        </p:anim>
                                        <p:anim calcmode="lin" valueType="num" p14:bounceEnd="45000">
                                          <p:cBhvr additive="base">
                                            <p:cTn id="8" dur="2000" fill="hold"/>
                                            <p:tgtEl>
                                              <p:spTgt spid="4">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45000">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14:bounceEnd="45000">
                                          <p:cBhvr additive="base">
                                            <p:cTn id="11" dur="2000" fill="hold"/>
                                            <p:tgtEl>
                                              <p:spTgt spid="4">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12" dur="2000" fill="hold"/>
                                            <p:tgtEl>
                                              <p:spTgt spid="4">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45000">
                                      <p:stCondLst>
                                        <p:cond delay="0"/>
                                      </p:stCondLst>
                                      <p:childTnLst>
                                        <p:set>
                                          <p:cBhvr>
                                            <p:cTn id="14" dur="1" fill="hold">
                                              <p:stCondLst>
                                                <p:cond delay="0"/>
                                              </p:stCondLst>
                                            </p:cTn>
                                            <p:tgtEl>
                                              <p:spTgt spid="33">
                                                <p:bg/>
                                              </p:spTgt>
                                            </p:tgtEl>
                                            <p:attrNameLst>
                                              <p:attrName>style.visibility</p:attrName>
                                            </p:attrNameLst>
                                          </p:cBhvr>
                                          <p:to>
                                            <p:strVal val="visible"/>
                                          </p:to>
                                        </p:set>
                                        <p:anim calcmode="lin" valueType="num" p14:bounceEnd="45000">
                                          <p:cBhvr additive="base">
                                            <p:cTn id="15" dur="2500" fill="hold"/>
                                            <p:tgtEl>
                                              <p:spTgt spid="33">
                                                <p:bg/>
                                              </p:spTgt>
                                            </p:tgtEl>
                                            <p:attrNameLst>
                                              <p:attrName>ppt_x</p:attrName>
                                            </p:attrNameLst>
                                          </p:cBhvr>
                                          <p:tavLst>
                                            <p:tav tm="0">
                                              <p:val>
                                                <p:strVal val="0-#ppt_w/2"/>
                                              </p:val>
                                            </p:tav>
                                            <p:tav tm="100000">
                                              <p:val>
                                                <p:strVal val="#ppt_x"/>
                                              </p:val>
                                            </p:tav>
                                          </p:tavLst>
                                        </p:anim>
                                        <p:anim calcmode="lin" valueType="num" p14:bounceEnd="45000">
                                          <p:cBhvr additive="base">
                                            <p:cTn id="16" dur="2500" fill="hold"/>
                                            <p:tgtEl>
                                              <p:spTgt spid="33">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14:presetBounceEnd="45000">
                                      <p:stCondLst>
                                        <p:cond delay="0"/>
                                      </p:stCondLst>
                                      <p:childTnLst>
                                        <p:set>
                                          <p:cBhvr>
                                            <p:cTn id="18" dur="1" fill="hold">
                                              <p:stCondLst>
                                                <p:cond delay="0"/>
                                              </p:stCondLst>
                                            </p:cTn>
                                            <p:tgtEl>
                                              <p:spTgt spid="33">
                                                <p:txEl>
                                                  <p:pRg st="0" end="0"/>
                                                </p:txEl>
                                              </p:spTgt>
                                            </p:tgtEl>
                                            <p:attrNameLst>
                                              <p:attrName>style.visibility</p:attrName>
                                            </p:attrNameLst>
                                          </p:cBhvr>
                                          <p:to>
                                            <p:strVal val="visible"/>
                                          </p:to>
                                        </p:set>
                                        <p:anim calcmode="lin" valueType="num" p14:bounceEnd="45000">
                                          <p:cBhvr additive="base">
                                            <p:cTn id="19" dur="2500" fill="hold"/>
                                            <p:tgtEl>
                                              <p:spTgt spid="33">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20" dur="2500" fill="hold"/>
                                            <p:tgtEl>
                                              <p:spTgt spid="33">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14:presetBounceEnd="45000">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14:bounceEnd="45000">
                                          <p:cBhvr additive="base">
                                            <p:cTn id="23" dur="2000" fill="hold"/>
                                            <p:tgtEl>
                                              <p:spTgt spid="2"/>
                                            </p:tgtEl>
                                            <p:attrNameLst>
                                              <p:attrName>ppt_x</p:attrName>
                                            </p:attrNameLst>
                                          </p:cBhvr>
                                          <p:tavLst>
                                            <p:tav tm="0">
                                              <p:val>
                                                <p:strVal val="0-#ppt_w/2"/>
                                              </p:val>
                                            </p:tav>
                                            <p:tav tm="100000">
                                              <p:val>
                                                <p:strVal val="#ppt_x"/>
                                              </p:val>
                                            </p:tav>
                                          </p:tavLst>
                                        </p:anim>
                                        <p:anim calcmode="lin" valueType="num" p14:bounceEnd="45000">
                                          <p:cBhvr additive="base">
                                            <p:cTn id="24" dur="2000" fill="hold"/>
                                            <p:tgtEl>
                                              <p:spTgt spid="2"/>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150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1000" fill="hold"/>
                                            <p:tgtEl>
                                              <p:spTgt spid="25"/>
                                            </p:tgtEl>
                                            <p:attrNameLst>
                                              <p:attrName>ppt_x</p:attrName>
                                            </p:attrNameLst>
                                          </p:cBhvr>
                                          <p:tavLst>
                                            <p:tav tm="0">
                                              <p:val>
                                                <p:strVal val="1+#ppt_w/2"/>
                                              </p:val>
                                            </p:tav>
                                            <p:tav tm="100000">
                                              <p:val>
                                                <p:strVal val="#ppt_x"/>
                                              </p:val>
                                            </p:tav>
                                          </p:tavLst>
                                        </p:anim>
                                        <p:anim calcmode="lin" valueType="num">
                                          <p:cBhvr additive="base">
                                            <p:cTn id="28"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4"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4"/>
                            </p:tgtEl>
                            <p:attrNameLst>
                              <p:attrName>style.visibility</p:attrName>
                            </p:attrNameLst>
                          </p:cBhvr>
                          <p:to>
                            <p:strVal val="visible"/>
                          </p:to>
                        </p:set>
                        <p:anim calcmode="lin" valueType="num" p14:bounceEnd="45000">
                          <p:cBhvr additive="base">
                            <p:cTn dur="2000" fill="hold"/>
                            <p:tgtEl>
                              <p:spTgt spid="4"/>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4"/>
                            </p:tgtEl>
                            <p:attrNameLst>
                              <p:attrName>style.visibility</p:attrName>
                            </p:attrNameLst>
                          </p:cBhvr>
                          <p:to>
                            <p:strVal val="visible"/>
                          </p:to>
                        </p:set>
                        <p:anim calcmode="lin" valueType="num" p14:bounceEnd="45000">
                          <p:cBhvr additive="base">
                            <p:cTn dur="2000" fill="hold"/>
                            <p:tgtEl>
                              <p:spTgt spid="4"/>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
                            </p:tgtEl>
                            <p:attrNameLst>
                              <p:attrName>ppt_y</p:attrName>
                            </p:attrNameLst>
                          </p:cBhvr>
                          <p:tavLst>
                            <p:tav tm="0">
                              <p:val>
                                <p:strVal val="#ppt_y"/>
                              </p:val>
                            </p:tav>
                            <p:tav tm="100000">
                              <p:val>
                                <p:strVal val="#ppt_y"/>
                              </p:val>
                            </p:tav>
                          </p:tavLst>
                        </p:anim>
                      </p:childTnLst>
                    </p:cTn>
                  </p:par>
                </p:tnLst>
              </p:tmpl>
            </p:tmplLst>
          </p:bldP>
          <p:bldP spid="33"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3"/>
                            </p:tgtEl>
                            <p:attrNameLst>
                              <p:attrName>style.visibility</p:attrName>
                            </p:attrNameLst>
                          </p:cBhvr>
                          <p:to>
                            <p:strVal val="visible"/>
                          </p:to>
                        </p:set>
                        <p:anim calcmode="lin" valueType="num" p14:bounceEnd="45000">
                          <p:cBhvr additive="base">
                            <p:cTn dur="2500" fill="hold"/>
                            <p:tgtEl>
                              <p:spTgt spid="33"/>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3"/>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3"/>
                            </p:tgtEl>
                            <p:attrNameLst>
                              <p:attrName>style.visibility</p:attrName>
                            </p:attrNameLst>
                          </p:cBhvr>
                          <p:to>
                            <p:strVal val="visible"/>
                          </p:to>
                        </p:set>
                        <p:anim calcmode="lin" valueType="num" p14:bounceEnd="45000">
                          <p:cBhvr additive="base">
                            <p:cTn dur="2500" fill="hold"/>
                            <p:tgtEl>
                              <p:spTgt spid="33"/>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3"/>
                            </p:tgtEl>
                            <p:attrNameLst>
                              <p:attrName>ppt_y</p:attrName>
                            </p:attrNameLst>
                          </p:cBhvr>
                          <p:tavLst>
                            <p:tav tm="0">
                              <p:val>
                                <p:strVal val="#ppt_y"/>
                              </p:val>
                            </p:tav>
                            <p:tav tm="100000">
                              <p:val>
                                <p:strVal val="#ppt_y"/>
                              </p:val>
                            </p:tav>
                          </p:tavLst>
                        </p:anim>
                      </p:childTnLst>
                    </p:cTn>
                  </p:par>
                </p:tnLst>
              </p:tmpl>
            </p:tmplLst>
          </p:bldP>
          <p:bldP spid="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bg/>
                                              </p:spTgt>
                                            </p:tgtEl>
                                            <p:attrNameLst>
                                              <p:attrName>style.visibility</p:attrName>
                                            </p:attrNameLst>
                                          </p:cBhvr>
                                          <p:to>
                                            <p:strVal val="visible"/>
                                          </p:to>
                                        </p:set>
                                        <p:anim calcmode="lin" valueType="num">
                                          <p:cBhvr additive="base">
                                            <p:cTn id="7" dur="2000" fill="hold"/>
                                            <p:tgtEl>
                                              <p:spTgt spid="4">
                                                <p:bg/>
                                              </p:spTgt>
                                            </p:tgtEl>
                                            <p:attrNameLst>
                                              <p:attrName>ppt_x</p:attrName>
                                            </p:attrNameLst>
                                          </p:cBhvr>
                                          <p:tavLst>
                                            <p:tav tm="0">
                                              <p:val>
                                                <p:strVal val="0-#ppt_w/2"/>
                                              </p:val>
                                            </p:tav>
                                            <p:tav tm="100000">
                                              <p:val>
                                                <p:strVal val="#ppt_x"/>
                                              </p:val>
                                            </p:tav>
                                          </p:tavLst>
                                        </p:anim>
                                        <p:anim calcmode="lin" valueType="num">
                                          <p:cBhvr additive="base">
                                            <p:cTn id="8" dur="2000" fill="hold"/>
                                            <p:tgtEl>
                                              <p:spTgt spid="4">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additive="base">
                                            <p:cTn id="11" dur="20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12" dur="2000" fill="hold"/>
                                            <p:tgtEl>
                                              <p:spTgt spid="4">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3">
                                                <p:bg/>
                                              </p:spTgt>
                                            </p:tgtEl>
                                            <p:attrNameLst>
                                              <p:attrName>style.visibility</p:attrName>
                                            </p:attrNameLst>
                                          </p:cBhvr>
                                          <p:to>
                                            <p:strVal val="visible"/>
                                          </p:to>
                                        </p:set>
                                        <p:anim calcmode="lin" valueType="num">
                                          <p:cBhvr additive="base">
                                            <p:cTn id="15" dur="2500" fill="hold"/>
                                            <p:tgtEl>
                                              <p:spTgt spid="33">
                                                <p:bg/>
                                              </p:spTgt>
                                            </p:tgtEl>
                                            <p:attrNameLst>
                                              <p:attrName>ppt_x</p:attrName>
                                            </p:attrNameLst>
                                          </p:cBhvr>
                                          <p:tavLst>
                                            <p:tav tm="0">
                                              <p:val>
                                                <p:strVal val="0-#ppt_w/2"/>
                                              </p:val>
                                            </p:tav>
                                            <p:tav tm="100000">
                                              <p:val>
                                                <p:strVal val="#ppt_x"/>
                                              </p:val>
                                            </p:tav>
                                          </p:tavLst>
                                        </p:anim>
                                        <p:anim calcmode="lin" valueType="num">
                                          <p:cBhvr additive="base">
                                            <p:cTn id="16" dur="2500" fill="hold"/>
                                            <p:tgtEl>
                                              <p:spTgt spid="33">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3">
                                                <p:txEl>
                                                  <p:pRg st="0" end="0"/>
                                                </p:txEl>
                                              </p:spTgt>
                                            </p:tgtEl>
                                            <p:attrNameLst>
                                              <p:attrName>style.visibility</p:attrName>
                                            </p:attrNameLst>
                                          </p:cBhvr>
                                          <p:to>
                                            <p:strVal val="visible"/>
                                          </p:to>
                                        </p:set>
                                        <p:anim calcmode="lin" valueType="num">
                                          <p:cBhvr additive="base">
                                            <p:cTn id="19" dur="2500" fill="hold"/>
                                            <p:tgtEl>
                                              <p:spTgt spid="33">
                                                <p:txEl>
                                                  <p:pRg st="0" end="0"/>
                                                </p:txEl>
                                              </p:spTgt>
                                            </p:tgtEl>
                                            <p:attrNameLst>
                                              <p:attrName>ppt_x</p:attrName>
                                            </p:attrNameLst>
                                          </p:cBhvr>
                                          <p:tavLst>
                                            <p:tav tm="0">
                                              <p:val>
                                                <p:strVal val="0-#ppt_w/2"/>
                                              </p:val>
                                            </p:tav>
                                            <p:tav tm="100000">
                                              <p:val>
                                                <p:strVal val="#ppt_x"/>
                                              </p:val>
                                            </p:tav>
                                          </p:tavLst>
                                        </p:anim>
                                        <p:anim calcmode="lin" valueType="num">
                                          <p:cBhvr additive="base">
                                            <p:cTn id="20" dur="2500" fill="hold"/>
                                            <p:tgtEl>
                                              <p:spTgt spid="33">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additive="base">
                                            <p:cTn id="23" dur="2000" fill="hold"/>
                                            <p:tgtEl>
                                              <p:spTgt spid="2"/>
                                            </p:tgtEl>
                                            <p:attrNameLst>
                                              <p:attrName>ppt_x</p:attrName>
                                            </p:attrNameLst>
                                          </p:cBhvr>
                                          <p:tavLst>
                                            <p:tav tm="0">
                                              <p:val>
                                                <p:strVal val="0-#ppt_w/2"/>
                                              </p:val>
                                            </p:tav>
                                            <p:tav tm="100000">
                                              <p:val>
                                                <p:strVal val="#ppt_x"/>
                                              </p:val>
                                            </p:tav>
                                          </p:tavLst>
                                        </p:anim>
                                        <p:anim calcmode="lin" valueType="num">
                                          <p:cBhvr additive="base">
                                            <p:cTn id="24" dur="2000" fill="hold"/>
                                            <p:tgtEl>
                                              <p:spTgt spid="2"/>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150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1000" fill="hold"/>
                                            <p:tgtEl>
                                              <p:spTgt spid="25"/>
                                            </p:tgtEl>
                                            <p:attrNameLst>
                                              <p:attrName>ppt_x</p:attrName>
                                            </p:attrNameLst>
                                          </p:cBhvr>
                                          <p:tavLst>
                                            <p:tav tm="0">
                                              <p:val>
                                                <p:strVal val="1+#ppt_w/2"/>
                                              </p:val>
                                            </p:tav>
                                            <p:tav tm="100000">
                                              <p:val>
                                                <p:strVal val="#ppt_x"/>
                                              </p:val>
                                            </p:tav>
                                          </p:tavLst>
                                        </p:anim>
                                        <p:anim calcmode="lin" valueType="num">
                                          <p:cBhvr additive="base">
                                            <p:cTn id="28"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4" grpId="0" build="p" animBg="1">
            <p:tmplLst>
              <p:tmpl>
                <p:tnLst>
                  <p:par>
                    <p:cTn presetID="2" presetClass="entr" presetSubtype="8" fill="hold" nodeType="withEffect">
                      <p:stCondLst>
                        <p:cond delay="0"/>
                      </p:stCondLst>
                      <p:childTnLst>
                        <p:set>
                          <p:cBhvr>
                            <p:cTn dur="1" fill="hold">
                              <p:stCondLst>
                                <p:cond delay="0"/>
                              </p:stCondLst>
                            </p:cTn>
                            <p:tgtEl>
                              <p:spTgt spid="4"/>
                            </p:tgtEl>
                            <p:attrNameLst>
                              <p:attrName>style.visibility</p:attrName>
                            </p:attrNameLst>
                          </p:cBhvr>
                          <p:to>
                            <p:strVal val="visible"/>
                          </p:to>
                        </p:set>
                        <p:anim calcmode="lin" valueType="num">
                          <p:cBhvr additive="base">
                            <p:cTn dur="2000" fill="hold"/>
                            <p:tgtEl>
                              <p:spTgt spid="4"/>
                            </p:tgtEl>
                            <p:attrNameLst>
                              <p:attrName>ppt_x</p:attrName>
                            </p:attrNameLst>
                          </p:cBhvr>
                          <p:tavLst>
                            <p:tav tm="0">
                              <p:val>
                                <p:strVal val="0-#ppt_w/2"/>
                              </p:val>
                            </p:tav>
                            <p:tav tm="100000">
                              <p:val>
                                <p:strVal val="#ppt_x"/>
                              </p:val>
                            </p:tav>
                          </p:tavLst>
                        </p:anim>
                        <p:anim calcmode="lin" valueType="num">
                          <p:cBhvr additive="base">
                            <p:cTn dur="2000" fill="hold"/>
                            <p:tgtEl>
                              <p:spTgt spid="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4"/>
                            </p:tgtEl>
                            <p:attrNameLst>
                              <p:attrName>style.visibility</p:attrName>
                            </p:attrNameLst>
                          </p:cBhvr>
                          <p:to>
                            <p:strVal val="visible"/>
                          </p:to>
                        </p:set>
                        <p:anim calcmode="lin" valueType="num">
                          <p:cBhvr additive="base">
                            <p:cTn dur="2000" fill="hold"/>
                            <p:tgtEl>
                              <p:spTgt spid="4"/>
                            </p:tgtEl>
                            <p:attrNameLst>
                              <p:attrName>ppt_x</p:attrName>
                            </p:attrNameLst>
                          </p:cBhvr>
                          <p:tavLst>
                            <p:tav tm="0">
                              <p:val>
                                <p:strVal val="0-#ppt_w/2"/>
                              </p:val>
                            </p:tav>
                            <p:tav tm="100000">
                              <p:val>
                                <p:strVal val="#ppt_x"/>
                              </p:val>
                            </p:tav>
                          </p:tavLst>
                        </p:anim>
                        <p:anim calcmode="lin" valueType="num">
                          <p:cBhvr additive="base">
                            <p:cTn dur="2000" fill="hold"/>
                            <p:tgtEl>
                              <p:spTgt spid="4"/>
                            </p:tgtEl>
                            <p:attrNameLst>
                              <p:attrName>ppt_y</p:attrName>
                            </p:attrNameLst>
                          </p:cBhvr>
                          <p:tavLst>
                            <p:tav tm="0">
                              <p:val>
                                <p:strVal val="#ppt_y"/>
                              </p:val>
                            </p:tav>
                            <p:tav tm="100000">
                              <p:val>
                                <p:strVal val="#ppt_y"/>
                              </p:val>
                            </p:tav>
                          </p:tavLst>
                        </p:anim>
                      </p:childTnLst>
                    </p:cTn>
                  </p:par>
                </p:tnLst>
              </p:tmpl>
            </p:tmplLst>
          </p:bldP>
          <p:bldP spid="33" grpId="0" build="p" animBg="1">
            <p:tmplLst>
              <p:tmpl>
                <p:tnLst>
                  <p:par>
                    <p:cTn presetID="2" presetClass="entr" presetSubtype="8" fill="hold" nodeType="withEffect">
                      <p:stCondLst>
                        <p:cond delay="0"/>
                      </p:stCondLst>
                      <p:childTnLst>
                        <p:set>
                          <p:cBhvr>
                            <p:cTn dur="1" fill="hold">
                              <p:stCondLst>
                                <p:cond delay="0"/>
                              </p:stCondLst>
                            </p:cTn>
                            <p:tgtEl>
                              <p:spTgt spid="33"/>
                            </p:tgtEl>
                            <p:attrNameLst>
                              <p:attrName>style.visibility</p:attrName>
                            </p:attrNameLst>
                          </p:cBhvr>
                          <p:to>
                            <p:strVal val="visible"/>
                          </p:to>
                        </p:set>
                        <p:anim calcmode="lin" valueType="num">
                          <p:cBhvr additive="base">
                            <p:cTn dur="2500" fill="hold"/>
                            <p:tgtEl>
                              <p:spTgt spid="33"/>
                            </p:tgtEl>
                            <p:attrNameLst>
                              <p:attrName>ppt_x</p:attrName>
                            </p:attrNameLst>
                          </p:cBhvr>
                          <p:tavLst>
                            <p:tav tm="0">
                              <p:val>
                                <p:strVal val="0-#ppt_w/2"/>
                              </p:val>
                            </p:tav>
                            <p:tav tm="100000">
                              <p:val>
                                <p:strVal val="#ppt_x"/>
                              </p:val>
                            </p:tav>
                          </p:tavLst>
                        </p:anim>
                        <p:anim calcmode="lin" valueType="num">
                          <p:cBhvr additive="base">
                            <p:cTn dur="2500" fill="hold"/>
                            <p:tgtEl>
                              <p:spTgt spid="33"/>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3"/>
                            </p:tgtEl>
                            <p:attrNameLst>
                              <p:attrName>style.visibility</p:attrName>
                            </p:attrNameLst>
                          </p:cBhvr>
                          <p:to>
                            <p:strVal val="visible"/>
                          </p:to>
                        </p:set>
                        <p:anim calcmode="lin" valueType="num">
                          <p:cBhvr additive="base">
                            <p:cTn dur="2500" fill="hold"/>
                            <p:tgtEl>
                              <p:spTgt spid="33"/>
                            </p:tgtEl>
                            <p:attrNameLst>
                              <p:attrName>ppt_x</p:attrName>
                            </p:attrNameLst>
                          </p:cBhvr>
                          <p:tavLst>
                            <p:tav tm="0">
                              <p:val>
                                <p:strVal val="0-#ppt_w/2"/>
                              </p:val>
                            </p:tav>
                            <p:tav tm="100000">
                              <p:val>
                                <p:strVal val="#ppt_x"/>
                              </p:val>
                            </p:tav>
                          </p:tavLst>
                        </p:anim>
                        <p:anim calcmode="lin" valueType="num">
                          <p:cBhvr additive="base">
                            <p:cTn dur="2500" fill="hold"/>
                            <p:tgtEl>
                              <p:spTgt spid="33"/>
                            </p:tgtEl>
                            <p:attrNameLst>
                              <p:attrName>ppt_y</p:attrName>
                            </p:attrNameLst>
                          </p:cBhvr>
                          <p:tavLst>
                            <p:tav tm="0">
                              <p:val>
                                <p:strVal val="#ppt_y"/>
                              </p:val>
                            </p:tav>
                            <p:tav tm="100000">
                              <p:val>
                                <p:strVal val="#ppt_y"/>
                              </p:val>
                            </p:tav>
                          </p:tavLst>
                        </p:anim>
                      </p:childTnLst>
                    </p:cTn>
                  </p:par>
                </p:tnLst>
              </p:tmpl>
            </p:tmplLst>
          </p:bldP>
          <p:bldP spid="2" grpId="0" animBg="1"/>
        </p:bldLst>
      </p:timing>
    </mc:Fallback>
  </mc:AlternateContent>
  <p:extLst>
    <p:ext uri="{DCECCB84-F9BA-43D5-87BE-67443E8EF086}">
      <p15:sldGuideLst xmlns:p15="http://schemas.microsoft.com/office/powerpoint/2012/main">
        <p15:guide id="1" pos="63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s + dark pictur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4221328"/>
            <a:ext cx="3528000" cy="2160000"/>
          </a:xfrm>
        </p:spPr>
        <p:txBody>
          <a:bodyPr/>
          <a:lstStyle>
            <a:lvl1pPr>
              <a:defRPr>
                <a:solidFill>
                  <a:schemeClr val="tx1"/>
                </a:solidFill>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p>
            <a:fld id="{3B140A39-527A-45CF-A911-B921024B92E6}" type="slidenum">
              <a:rPr lang="en-US" noProof="0" smtClean="0"/>
              <a:t>‹#›</a:t>
            </a:fld>
            <a:endParaRPr lang="en-US" noProof="0"/>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4296208" y="4221328"/>
            <a:ext cx="3600000" cy="2160000"/>
          </a:xfrm>
        </p:spPr>
        <p:txBody>
          <a:bodyPr/>
          <a:lstStyle>
            <a:lvl1pPr>
              <a:defRPr>
                <a:solidFill>
                  <a:schemeClr val="tx1"/>
                </a:solidFill>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8256588" y="4221328"/>
            <a:ext cx="3528044" cy="2160000"/>
          </a:xfrm>
        </p:spPr>
        <p:txBody>
          <a:bodyPr/>
          <a:lstStyle>
            <a:lvl1pPr>
              <a:defRPr>
                <a:solidFill>
                  <a:schemeClr val="tx1"/>
                </a:solidFill>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Bildplatzhalter 26">
            <a:extLst>
              <a:ext uri="{FF2B5EF4-FFF2-40B4-BE49-F238E27FC236}">
                <a16:creationId xmlns:a16="http://schemas.microsoft.com/office/drawing/2014/main" id="{A31A76E7-8A08-4835-9BB3-DD76DA583825}"/>
              </a:ext>
            </a:extLst>
          </p:cNvPr>
          <p:cNvSpPr>
            <a:spLocks noGrp="1"/>
          </p:cNvSpPr>
          <p:nvPr>
            <p:ph type="pic" sz="quarter" idx="10" hasCustomPrompt="1"/>
          </p:nvPr>
        </p:nvSpPr>
        <p:spPr bwMode="gray">
          <a:xfrm>
            <a:off x="407368" y="1557033"/>
            <a:ext cx="3528000" cy="2520000"/>
          </a:xfrm>
          <a:solidFill>
            <a:schemeClr val="accent3"/>
          </a:solidFill>
        </p:spPr>
        <p:txBody>
          <a:bodyPr tIns="144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7" name="Textplatzhalter 6">
            <a:extLst>
              <a:ext uri="{FF2B5EF4-FFF2-40B4-BE49-F238E27FC236}">
                <a16:creationId xmlns:a16="http://schemas.microsoft.com/office/drawing/2014/main" id="{D4CDBF24-5390-4A68-BA81-F1A3A4A4EA1D}"/>
              </a:ext>
            </a:extLst>
          </p:cNvPr>
          <p:cNvSpPr>
            <a:spLocks noGrp="1"/>
          </p:cNvSpPr>
          <p:nvPr>
            <p:ph type="body" sz="quarter" idx="17" hasCustomPrompt="1"/>
          </p:nvPr>
        </p:nvSpPr>
        <p:spPr bwMode="gray">
          <a:xfrm>
            <a:off x="407368" y="1557032"/>
            <a:ext cx="647389" cy="2520000"/>
          </a:xfrm>
          <a:solidFill>
            <a:schemeClr val="accent1"/>
          </a:solidFill>
        </p:spPr>
        <p:txBody>
          <a:bodyPr/>
          <a:lstStyle>
            <a:lvl1pPr>
              <a:defRPr/>
            </a:lvl1pPr>
          </a:lstStyle>
          <a:p>
            <a:pPr lvl="0"/>
            <a:r>
              <a:rPr lang="en-US" noProof="0"/>
              <a:t>  </a:t>
            </a:r>
          </a:p>
        </p:txBody>
      </p:sp>
      <p:sp>
        <p:nvSpPr>
          <p:cNvPr id="20" name="Textplatzhalter 19">
            <a:extLst>
              <a:ext uri="{FF2B5EF4-FFF2-40B4-BE49-F238E27FC236}">
                <a16:creationId xmlns:a16="http://schemas.microsoft.com/office/drawing/2014/main" id="{12E1E28A-E2C5-431B-9D97-9E427B33736F}"/>
              </a:ext>
            </a:extLst>
          </p:cNvPr>
          <p:cNvSpPr>
            <a:spLocks noGrp="1"/>
          </p:cNvSpPr>
          <p:nvPr>
            <p:ph type="body" sz="quarter" idx="25" hasCustomPrompt="1"/>
          </p:nvPr>
        </p:nvSpPr>
        <p:spPr bwMode="gray">
          <a:xfrm>
            <a:off x="1055680" y="1557032"/>
            <a:ext cx="360000" cy="252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US" noProof="0"/>
              <a:t> </a:t>
            </a:r>
          </a:p>
        </p:txBody>
      </p:sp>
      <p:sp>
        <p:nvSpPr>
          <p:cNvPr id="21" name="Textplatzhalter 20">
            <a:extLst>
              <a:ext uri="{FF2B5EF4-FFF2-40B4-BE49-F238E27FC236}">
                <a16:creationId xmlns:a16="http://schemas.microsoft.com/office/drawing/2014/main" id="{1A345EC7-DDC4-4BBD-801A-B4E5E6FA272C}"/>
              </a:ext>
            </a:extLst>
          </p:cNvPr>
          <p:cNvSpPr>
            <a:spLocks noGrp="1"/>
          </p:cNvSpPr>
          <p:nvPr>
            <p:ph type="body" sz="quarter" idx="26" hasCustomPrompt="1"/>
          </p:nvPr>
        </p:nvSpPr>
        <p:spPr bwMode="gray">
          <a:xfrm>
            <a:off x="1055680" y="1557033"/>
            <a:ext cx="360000" cy="252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US" noProof="0"/>
              <a:t>  </a:t>
            </a:r>
          </a:p>
        </p:txBody>
      </p:sp>
      <p:sp>
        <p:nvSpPr>
          <p:cNvPr id="17" name="Textplatzhalter 16">
            <a:extLst>
              <a:ext uri="{FF2B5EF4-FFF2-40B4-BE49-F238E27FC236}">
                <a16:creationId xmlns:a16="http://schemas.microsoft.com/office/drawing/2014/main" id="{3399AB04-C995-406D-8DB4-C48AFE53B82B}"/>
              </a:ext>
            </a:extLst>
          </p:cNvPr>
          <p:cNvSpPr>
            <a:spLocks noGrp="1"/>
          </p:cNvSpPr>
          <p:nvPr>
            <p:ph type="body" sz="quarter" idx="20" hasCustomPrompt="1"/>
          </p:nvPr>
        </p:nvSpPr>
        <p:spPr bwMode="gray">
          <a:xfrm>
            <a:off x="407988" y="3501304"/>
            <a:ext cx="3528000" cy="504000"/>
          </a:xfrm>
        </p:spPr>
        <p:txBody>
          <a:bodyPr lIns="108000" tIns="72000" rIns="108000" bIns="72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US" noProof="0"/>
              <a:t>Click to add text</a:t>
            </a:r>
          </a:p>
        </p:txBody>
      </p:sp>
      <p:sp>
        <p:nvSpPr>
          <p:cNvPr id="22" name="Bildplatzhalter 26">
            <a:extLst>
              <a:ext uri="{FF2B5EF4-FFF2-40B4-BE49-F238E27FC236}">
                <a16:creationId xmlns:a16="http://schemas.microsoft.com/office/drawing/2014/main" id="{BDB8699D-2779-445A-AD00-86BCF020EA67}"/>
              </a:ext>
            </a:extLst>
          </p:cNvPr>
          <p:cNvSpPr>
            <a:spLocks noGrp="1"/>
          </p:cNvSpPr>
          <p:nvPr>
            <p:ph type="pic" sz="quarter" idx="27" hasCustomPrompt="1"/>
          </p:nvPr>
        </p:nvSpPr>
        <p:spPr bwMode="gray">
          <a:xfrm>
            <a:off x="4296216" y="1557032"/>
            <a:ext cx="3600000" cy="2520000"/>
          </a:xfrm>
          <a:solidFill>
            <a:schemeClr val="accent3"/>
          </a:solidFill>
        </p:spPr>
        <p:txBody>
          <a:bodyPr tIns="144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23" name="Textplatzhalter 6">
            <a:extLst>
              <a:ext uri="{FF2B5EF4-FFF2-40B4-BE49-F238E27FC236}">
                <a16:creationId xmlns:a16="http://schemas.microsoft.com/office/drawing/2014/main" id="{355960B4-F763-4BC9-B03E-9B8DE0C4E97B}"/>
              </a:ext>
            </a:extLst>
          </p:cNvPr>
          <p:cNvSpPr>
            <a:spLocks noGrp="1"/>
          </p:cNvSpPr>
          <p:nvPr>
            <p:ph type="body" sz="quarter" idx="28" hasCustomPrompt="1"/>
          </p:nvPr>
        </p:nvSpPr>
        <p:spPr bwMode="gray">
          <a:xfrm>
            <a:off x="4296216" y="1557031"/>
            <a:ext cx="647389" cy="2520000"/>
          </a:xfrm>
          <a:solidFill>
            <a:schemeClr val="accent1"/>
          </a:solidFill>
        </p:spPr>
        <p:txBody>
          <a:bodyPr/>
          <a:lstStyle>
            <a:lvl1pPr>
              <a:defRPr/>
            </a:lvl1pPr>
          </a:lstStyle>
          <a:p>
            <a:pPr lvl="0"/>
            <a:r>
              <a:rPr lang="en-US" noProof="0"/>
              <a:t>  </a:t>
            </a:r>
          </a:p>
        </p:txBody>
      </p:sp>
      <p:sp>
        <p:nvSpPr>
          <p:cNvPr id="24" name="Textplatzhalter 23">
            <a:extLst>
              <a:ext uri="{FF2B5EF4-FFF2-40B4-BE49-F238E27FC236}">
                <a16:creationId xmlns:a16="http://schemas.microsoft.com/office/drawing/2014/main" id="{B3885E46-5D2A-4373-92BA-8ADD2730830F}"/>
              </a:ext>
            </a:extLst>
          </p:cNvPr>
          <p:cNvSpPr>
            <a:spLocks noGrp="1"/>
          </p:cNvSpPr>
          <p:nvPr>
            <p:ph type="body" sz="quarter" idx="29" hasCustomPrompt="1"/>
          </p:nvPr>
        </p:nvSpPr>
        <p:spPr bwMode="gray">
          <a:xfrm>
            <a:off x="4944528" y="1557031"/>
            <a:ext cx="360000" cy="252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US" noProof="0"/>
              <a:t> </a:t>
            </a:r>
          </a:p>
        </p:txBody>
      </p:sp>
      <p:sp>
        <p:nvSpPr>
          <p:cNvPr id="25" name="Textplatzhalter 24">
            <a:extLst>
              <a:ext uri="{FF2B5EF4-FFF2-40B4-BE49-F238E27FC236}">
                <a16:creationId xmlns:a16="http://schemas.microsoft.com/office/drawing/2014/main" id="{639D2DE5-0E64-4D3D-8114-68EE7A938730}"/>
              </a:ext>
            </a:extLst>
          </p:cNvPr>
          <p:cNvSpPr>
            <a:spLocks noGrp="1"/>
          </p:cNvSpPr>
          <p:nvPr>
            <p:ph type="body" sz="quarter" idx="30" hasCustomPrompt="1"/>
          </p:nvPr>
        </p:nvSpPr>
        <p:spPr bwMode="gray">
          <a:xfrm>
            <a:off x="4944528" y="1557032"/>
            <a:ext cx="360000" cy="252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US" noProof="0"/>
              <a:t>  </a:t>
            </a:r>
          </a:p>
        </p:txBody>
      </p:sp>
      <p:sp>
        <p:nvSpPr>
          <p:cNvPr id="26" name="Textplatzhalter 16">
            <a:extLst>
              <a:ext uri="{FF2B5EF4-FFF2-40B4-BE49-F238E27FC236}">
                <a16:creationId xmlns:a16="http://schemas.microsoft.com/office/drawing/2014/main" id="{9DFBC0CB-6FE8-49D0-AE32-4AC45A962D97}"/>
              </a:ext>
            </a:extLst>
          </p:cNvPr>
          <p:cNvSpPr>
            <a:spLocks noGrp="1"/>
          </p:cNvSpPr>
          <p:nvPr>
            <p:ph type="body" sz="quarter" idx="31" hasCustomPrompt="1"/>
          </p:nvPr>
        </p:nvSpPr>
        <p:spPr bwMode="gray">
          <a:xfrm>
            <a:off x="4296836" y="3501304"/>
            <a:ext cx="3600000" cy="504000"/>
          </a:xfrm>
        </p:spPr>
        <p:txBody>
          <a:bodyPr lIns="108000" tIns="72000" rIns="108000" bIns="72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US" noProof="0"/>
              <a:t>Click to add text</a:t>
            </a:r>
          </a:p>
        </p:txBody>
      </p:sp>
      <p:sp>
        <p:nvSpPr>
          <p:cNvPr id="27" name="Bildplatzhalter 26">
            <a:extLst>
              <a:ext uri="{FF2B5EF4-FFF2-40B4-BE49-F238E27FC236}">
                <a16:creationId xmlns:a16="http://schemas.microsoft.com/office/drawing/2014/main" id="{972C4A7C-0C18-4AA1-AC9C-BDAC2FEC3339}"/>
              </a:ext>
            </a:extLst>
          </p:cNvPr>
          <p:cNvSpPr>
            <a:spLocks noGrp="1"/>
          </p:cNvSpPr>
          <p:nvPr>
            <p:ph type="pic" sz="quarter" idx="32" hasCustomPrompt="1"/>
          </p:nvPr>
        </p:nvSpPr>
        <p:spPr bwMode="gray">
          <a:xfrm>
            <a:off x="8256240" y="1557032"/>
            <a:ext cx="3528000" cy="2520000"/>
          </a:xfrm>
          <a:solidFill>
            <a:schemeClr val="accent3"/>
          </a:solidFill>
        </p:spPr>
        <p:txBody>
          <a:bodyPr tIns="144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28" name="Textplatzhalter 6">
            <a:extLst>
              <a:ext uri="{FF2B5EF4-FFF2-40B4-BE49-F238E27FC236}">
                <a16:creationId xmlns:a16="http://schemas.microsoft.com/office/drawing/2014/main" id="{4B80ABB8-64AF-42BC-8032-58D1A9B2BF2F}"/>
              </a:ext>
            </a:extLst>
          </p:cNvPr>
          <p:cNvSpPr>
            <a:spLocks noGrp="1"/>
          </p:cNvSpPr>
          <p:nvPr>
            <p:ph type="body" sz="quarter" idx="33" hasCustomPrompt="1"/>
          </p:nvPr>
        </p:nvSpPr>
        <p:spPr bwMode="gray">
          <a:xfrm>
            <a:off x="8256240" y="1557032"/>
            <a:ext cx="648000" cy="2520000"/>
          </a:xfrm>
          <a:solidFill>
            <a:schemeClr val="accent1"/>
          </a:solidFill>
        </p:spPr>
        <p:txBody>
          <a:bodyPr/>
          <a:lstStyle>
            <a:lvl1pPr>
              <a:defRPr/>
            </a:lvl1pPr>
          </a:lstStyle>
          <a:p>
            <a:pPr lvl="0"/>
            <a:r>
              <a:rPr lang="en-US" noProof="0"/>
              <a:t>  </a:t>
            </a:r>
          </a:p>
        </p:txBody>
      </p:sp>
      <p:sp>
        <p:nvSpPr>
          <p:cNvPr id="29" name="Textplatzhalter 28">
            <a:extLst>
              <a:ext uri="{FF2B5EF4-FFF2-40B4-BE49-F238E27FC236}">
                <a16:creationId xmlns:a16="http://schemas.microsoft.com/office/drawing/2014/main" id="{A441B42D-15C6-4193-9FD0-DBA82597C566}"/>
              </a:ext>
            </a:extLst>
          </p:cNvPr>
          <p:cNvSpPr>
            <a:spLocks noGrp="1"/>
          </p:cNvSpPr>
          <p:nvPr>
            <p:ph type="body" sz="quarter" idx="34" hasCustomPrompt="1"/>
          </p:nvPr>
        </p:nvSpPr>
        <p:spPr bwMode="gray">
          <a:xfrm>
            <a:off x="8904352" y="1557032"/>
            <a:ext cx="360000" cy="252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US" noProof="0"/>
              <a:t> </a:t>
            </a:r>
          </a:p>
        </p:txBody>
      </p:sp>
      <p:sp>
        <p:nvSpPr>
          <p:cNvPr id="30" name="Textplatzhalter 29">
            <a:extLst>
              <a:ext uri="{FF2B5EF4-FFF2-40B4-BE49-F238E27FC236}">
                <a16:creationId xmlns:a16="http://schemas.microsoft.com/office/drawing/2014/main" id="{7786CB21-3C4B-492B-B4C9-E3159217FC9A}"/>
              </a:ext>
            </a:extLst>
          </p:cNvPr>
          <p:cNvSpPr>
            <a:spLocks noGrp="1"/>
          </p:cNvSpPr>
          <p:nvPr>
            <p:ph type="body" sz="quarter" idx="35" hasCustomPrompt="1"/>
          </p:nvPr>
        </p:nvSpPr>
        <p:spPr bwMode="gray">
          <a:xfrm>
            <a:off x="8904312" y="1557032"/>
            <a:ext cx="360000" cy="252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US" noProof="0"/>
              <a:t>  </a:t>
            </a:r>
          </a:p>
        </p:txBody>
      </p:sp>
      <p:sp>
        <p:nvSpPr>
          <p:cNvPr id="31" name="Textplatzhalter 16">
            <a:extLst>
              <a:ext uri="{FF2B5EF4-FFF2-40B4-BE49-F238E27FC236}">
                <a16:creationId xmlns:a16="http://schemas.microsoft.com/office/drawing/2014/main" id="{04DBD1DA-208B-4A2B-9235-91AA274863CA}"/>
              </a:ext>
            </a:extLst>
          </p:cNvPr>
          <p:cNvSpPr>
            <a:spLocks noGrp="1"/>
          </p:cNvSpPr>
          <p:nvPr>
            <p:ph type="body" sz="quarter" idx="36" hasCustomPrompt="1"/>
          </p:nvPr>
        </p:nvSpPr>
        <p:spPr bwMode="gray">
          <a:xfrm>
            <a:off x="8256761" y="3501304"/>
            <a:ext cx="3528000" cy="504000"/>
          </a:xfrm>
        </p:spPr>
        <p:txBody>
          <a:bodyPr lIns="108000" tIns="72000" rIns="108000" bIns="72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US" noProof="0"/>
              <a:t>Click to add text</a:t>
            </a:r>
          </a:p>
        </p:txBody>
      </p:sp>
      <p:sp>
        <p:nvSpPr>
          <p:cNvPr id="4" name="Fußzeilenplatzhalter 3">
            <a:extLst>
              <a:ext uri="{FF2B5EF4-FFF2-40B4-BE49-F238E27FC236}">
                <a16:creationId xmlns:a16="http://schemas.microsoft.com/office/drawing/2014/main" id="{1082493A-796E-44DD-9F72-6717EB7E3E86}"/>
              </a:ext>
            </a:extLst>
          </p:cNvPr>
          <p:cNvSpPr>
            <a:spLocks noGrp="1"/>
          </p:cNvSpPr>
          <p:nvPr>
            <p:ph type="ftr" sz="quarter" idx="37"/>
          </p:nvPr>
        </p:nvSpPr>
        <p:spPr bwMode="gray"/>
        <p:txBody>
          <a:bodyPr/>
          <a:lstStyle/>
          <a:p>
            <a:r>
              <a:rPr lang="en-GB"/>
              <a:t>BayWa r.e. AG Company Presentation 2024</a:t>
            </a:r>
            <a:endParaRPr lang="en-US"/>
          </a:p>
        </p:txBody>
      </p:sp>
      <p:sp>
        <p:nvSpPr>
          <p:cNvPr id="32" name="Rechteck 31">
            <a:extLst>
              <a:ext uri="{FF2B5EF4-FFF2-40B4-BE49-F238E27FC236}">
                <a16:creationId xmlns:a16="http://schemas.microsoft.com/office/drawing/2014/main" id="{DBA536E2-E88D-4392-BE87-617217DAECCC}"/>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34" name="Grafik 33">
            <a:extLst>
              <a:ext uri="{FF2B5EF4-FFF2-40B4-BE49-F238E27FC236}">
                <a16:creationId xmlns:a16="http://schemas.microsoft.com/office/drawing/2014/main" id="{EB3D9CCB-E444-4A2E-8A4C-ADD8ABCA3DA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gray">
          <a:xfrm>
            <a:off x="12432704" y="3356992"/>
            <a:ext cx="476316" cy="228632"/>
          </a:xfrm>
          <a:prstGeom prst="rect">
            <a:avLst/>
          </a:prstGeom>
        </p:spPr>
      </p:pic>
    </p:spTree>
    <p:extLst>
      <p:ext uri="{BB962C8B-B14F-4D97-AF65-F5344CB8AC3E}">
        <p14:creationId xmlns:p14="http://schemas.microsoft.com/office/powerpoint/2010/main" val="133100108"/>
      </p:ext>
    </p:extLst>
  </p:cSld>
  <p:clrMapOvr>
    <a:masterClrMapping/>
  </p:clrMapOvr>
  <p:extLst>
    <p:ext uri="{DCECCB84-F9BA-43D5-87BE-67443E8EF086}">
      <p15:sldGuideLst xmlns:p15="http://schemas.microsoft.com/office/powerpoint/2012/main">
        <p15:guide id="3" pos="2479" userDrawn="1">
          <p15:clr>
            <a:srgbClr val="FBAE40"/>
          </p15:clr>
        </p15:guide>
        <p15:guide id="4" pos="2706" userDrawn="1">
          <p15:clr>
            <a:srgbClr val="FBAE40"/>
          </p15:clr>
        </p15:guide>
        <p15:guide id="5" pos="4974" userDrawn="1">
          <p15:clr>
            <a:srgbClr val="FBAE40"/>
          </p15:clr>
        </p15:guide>
        <p15:guide id="6" pos="520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s + bright pictures">
    <p:spTree>
      <p:nvGrpSpPr>
        <p:cNvPr id="1" name=""/>
        <p:cNvGrpSpPr/>
        <p:nvPr/>
      </p:nvGrpSpPr>
      <p:grpSpPr>
        <a:xfrm>
          <a:off x="0" y="0"/>
          <a:ext cx="0" cy="0"/>
          <a:chOff x="0" y="0"/>
          <a:chExt cx="0" cy="0"/>
        </a:xfrm>
      </p:grpSpPr>
      <p:sp>
        <p:nvSpPr>
          <p:cNvPr id="9" name="Bildplatzhalter 26">
            <a:extLst>
              <a:ext uri="{FF2B5EF4-FFF2-40B4-BE49-F238E27FC236}">
                <a16:creationId xmlns:a16="http://schemas.microsoft.com/office/drawing/2014/main" id="{A31A76E7-8A08-4835-9BB3-DD76DA583825}"/>
              </a:ext>
            </a:extLst>
          </p:cNvPr>
          <p:cNvSpPr>
            <a:spLocks noGrp="1"/>
          </p:cNvSpPr>
          <p:nvPr>
            <p:ph type="pic" sz="quarter" idx="10" hasCustomPrompt="1"/>
          </p:nvPr>
        </p:nvSpPr>
        <p:spPr bwMode="gray">
          <a:xfrm>
            <a:off x="408683" y="1556792"/>
            <a:ext cx="3528000" cy="2520000"/>
          </a:xfrm>
          <a:solidFill>
            <a:schemeClr val="accent3"/>
          </a:solidFill>
        </p:spPr>
        <p:txBody>
          <a:bodyPr tIns="93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21" name="Textplatzhalter 20">
            <a:extLst>
              <a:ext uri="{FF2B5EF4-FFF2-40B4-BE49-F238E27FC236}">
                <a16:creationId xmlns:a16="http://schemas.microsoft.com/office/drawing/2014/main" id="{1A345EC7-DDC4-4BBD-801A-B4E5E6FA272C}"/>
              </a:ext>
            </a:extLst>
          </p:cNvPr>
          <p:cNvSpPr>
            <a:spLocks noGrp="1"/>
          </p:cNvSpPr>
          <p:nvPr>
            <p:ph type="body" sz="quarter" idx="26" hasCustomPrompt="1"/>
          </p:nvPr>
        </p:nvSpPr>
        <p:spPr bwMode="gray">
          <a:xfrm>
            <a:off x="408683" y="3068759"/>
            <a:ext cx="3529315"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marL="0" indent="0" algn="l">
              <a:spcBef>
                <a:spcPts val="0"/>
              </a:spcBef>
              <a:spcAft>
                <a:spcPts val="0"/>
              </a:spcAft>
              <a:buFont typeface="Arial" panose="020B0604020202020204" pitchFamily="34" charset="0"/>
              <a:buNone/>
              <a:defRPr sz="600">
                <a:solidFill>
                  <a:schemeClr val="accent1">
                    <a:alpha val="0"/>
                  </a:schemeClr>
                </a:solidFill>
              </a:defRPr>
            </a:lvl1pPr>
            <a:lvl2pPr marL="0" indent="0" algn="l">
              <a:spcBef>
                <a:spcPts val="0"/>
              </a:spcBef>
              <a:spcAft>
                <a:spcPts val="0"/>
              </a:spcAft>
              <a:buFont typeface="Arial" panose="020B0604020202020204" pitchFamily="34" charset="0"/>
              <a:buNone/>
              <a:defRPr sz="600">
                <a:solidFill>
                  <a:schemeClr val="tx1">
                    <a:alpha val="0"/>
                  </a:schemeClr>
                </a:solidFill>
              </a:defRPr>
            </a:lvl2pPr>
            <a:lvl3pPr marL="0" indent="0" algn="l">
              <a:spcBef>
                <a:spcPts val="0"/>
              </a:spcBef>
              <a:spcAft>
                <a:spcPts val="0"/>
              </a:spcAft>
              <a:buNone/>
              <a:defRPr sz="600">
                <a:solidFill>
                  <a:schemeClr val="tx1">
                    <a:alpha val="0"/>
                  </a:schemeClr>
                </a:solidFill>
              </a:defRPr>
            </a:lvl3pPr>
            <a:lvl4pPr marL="0" indent="0" algn="l">
              <a:spcBef>
                <a:spcPts val="0"/>
              </a:spcBef>
              <a:spcAft>
                <a:spcPts val="0"/>
              </a:spcAft>
              <a:buNone/>
              <a:defRPr sz="600">
                <a:solidFill>
                  <a:schemeClr val="tx1">
                    <a:alpha val="0"/>
                  </a:schemeClr>
                </a:solidFill>
              </a:defRPr>
            </a:lvl4pPr>
            <a:lvl5pPr marL="0" indent="0" algn="l">
              <a:spcBef>
                <a:spcPts val="0"/>
              </a:spcBef>
              <a:spcAft>
                <a:spcPts val="0"/>
              </a:spcAft>
              <a:buNone/>
              <a:defRPr sz="600">
                <a:solidFill>
                  <a:schemeClr val="tx1">
                    <a:alpha val="0"/>
                  </a:schemeClr>
                </a:solidFill>
              </a:defRPr>
            </a:lvl5pPr>
            <a:lvl6pPr marL="0" indent="0" algn="l">
              <a:spcBef>
                <a:spcPts val="0"/>
              </a:spcBef>
              <a:spcAft>
                <a:spcPts val="0"/>
              </a:spcAft>
              <a:buNone/>
              <a:defRPr sz="600">
                <a:solidFill>
                  <a:schemeClr val="tx1">
                    <a:alpha val="0"/>
                  </a:schemeClr>
                </a:solidFill>
              </a:defRPr>
            </a:lvl6pPr>
            <a:lvl7pPr marL="0" indent="0" algn="l">
              <a:spcBef>
                <a:spcPts val="0"/>
              </a:spcBef>
              <a:spcAft>
                <a:spcPts val="0"/>
              </a:spcAft>
              <a:buNone/>
              <a:defRPr sz="600">
                <a:solidFill>
                  <a:schemeClr val="tx1">
                    <a:alpha val="0"/>
                  </a:schemeClr>
                </a:solidFill>
              </a:defRPr>
            </a:lvl7pPr>
            <a:lvl8pPr marL="0" indent="0" algn="l">
              <a:spcBef>
                <a:spcPts val="0"/>
              </a:spcBef>
              <a:spcAft>
                <a:spcPts val="0"/>
              </a:spcAft>
              <a:buNone/>
              <a:defRPr sz="600">
                <a:solidFill>
                  <a:schemeClr val="tx1">
                    <a:alpha val="0"/>
                  </a:schemeClr>
                </a:solidFill>
              </a:defRPr>
            </a:lvl8pPr>
            <a:lvl9pPr marL="0" indent="0" algn="l">
              <a:spcBef>
                <a:spcPts val="0"/>
              </a:spcBef>
              <a:spcAft>
                <a:spcPts val="0"/>
              </a:spcAft>
              <a:buNone/>
              <a:defRPr sz="600">
                <a:solidFill>
                  <a:schemeClr val="tx1">
                    <a:alpha val="0"/>
                  </a:schemeClr>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defRPr/>
            </a:lvl1pPr>
          </a:lstStyle>
          <a:p>
            <a:r>
              <a:rPr lang="en-US"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4221328"/>
            <a:ext cx="3528000" cy="2160000"/>
          </a:xfrm>
        </p:spPr>
        <p:txBody>
          <a:bodyPr/>
          <a:lstStyle>
            <a:lvl1pPr>
              <a:defRPr>
                <a:solidFill>
                  <a:schemeClr val="tx1"/>
                </a:solidFill>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p>
            <a:fld id="{3B140A39-527A-45CF-A911-B921024B92E6}" type="slidenum">
              <a:rPr lang="en-US" noProof="0" smtClean="0"/>
              <a:t>‹#›</a:t>
            </a:fld>
            <a:endParaRPr lang="en-US" noProof="0"/>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4296208" y="4221328"/>
            <a:ext cx="3600000" cy="2160000"/>
          </a:xfrm>
        </p:spPr>
        <p:txBody>
          <a:bodyPr/>
          <a:lstStyle>
            <a:lvl1pPr>
              <a:defRPr>
                <a:solidFill>
                  <a:schemeClr val="tx1"/>
                </a:solidFill>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8256588" y="4221328"/>
            <a:ext cx="3528044" cy="2160000"/>
          </a:xfrm>
        </p:spPr>
        <p:txBody>
          <a:bodyPr/>
          <a:lstStyle>
            <a:lvl1pPr>
              <a:defRPr>
                <a:solidFill>
                  <a:schemeClr val="tx1"/>
                </a:solidFill>
              </a:defRPr>
            </a:lvl1pPr>
            <a:lvl2pPr>
              <a:defRPr/>
            </a:lvl2pPr>
            <a:lvl3pPr>
              <a:defRPr/>
            </a:lvl3pPr>
            <a:lvl4pPr>
              <a:defRPr/>
            </a:lvl4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7" name="Textplatzhalter 16">
            <a:extLst>
              <a:ext uri="{FF2B5EF4-FFF2-40B4-BE49-F238E27FC236}">
                <a16:creationId xmlns:a16="http://schemas.microsoft.com/office/drawing/2014/main" id="{3399AB04-C995-406D-8DB4-C48AFE53B82B}"/>
              </a:ext>
            </a:extLst>
          </p:cNvPr>
          <p:cNvSpPr>
            <a:spLocks noGrp="1"/>
          </p:cNvSpPr>
          <p:nvPr>
            <p:ph type="body" sz="quarter" idx="20" hasCustomPrompt="1"/>
          </p:nvPr>
        </p:nvSpPr>
        <p:spPr bwMode="gray">
          <a:xfrm>
            <a:off x="409303" y="3428759"/>
            <a:ext cx="3528000" cy="648000"/>
          </a:xfrm>
          <a:solidFill>
            <a:schemeClr val="accent1"/>
          </a:solidFill>
        </p:spPr>
        <p:txBody>
          <a:bodyPr lIns="108000" tIns="72000" rIns="108000" bIns="144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US" noProof="0"/>
              <a:t>Click to add text</a:t>
            </a:r>
          </a:p>
        </p:txBody>
      </p:sp>
      <p:sp>
        <p:nvSpPr>
          <p:cNvPr id="22" name="Bildplatzhalter 26">
            <a:extLst>
              <a:ext uri="{FF2B5EF4-FFF2-40B4-BE49-F238E27FC236}">
                <a16:creationId xmlns:a16="http://schemas.microsoft.com/office/drawing/2014/main" id="{BDB8699D-2779-445A-AD00-86BCF020EA67}"/>
              </a:ext>
            </a:extLst>
          </p:cNvPr>
          <p:cNvSpPr>
            <a:spLocks noGrp="1"/>
          </p:cNvSpPr>
          <p:nvPr>
            <p:ph type="pic" sz="quarter" idx="27" hasCustomPrompt="1"/>
          </p:nvPr>
        </p:nvSpPr>
        <p:spPr bwMode="gray">
          <a:xfrm>
            <a:off x="4296216" y="1557032"/>
            <a:ext cx="3600000" cy="2520000"/>
          </a:xfrm>
          <a:solidFill>
            <a:schemeClr val="accent3"/>
          </a:solidFill>
        </p:spPr>
        <p:txBody>
          <a:bodyPr tIns="93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27" name="Bildplatzhalter 26">
            <a:extLst>
              <a:ext uri="{FF2B5EF4-FFF2-40B4-BE49-F238E27FC236}">
                <a16:creationId xmlns:a16="http://schemas.microsoft.com/office/drawing/2014/main" id="{972C4A7C-0C18-4AA1-AC9C-BDAC2FEC3339}"/>
              </a:ext>
            </a:extLst>
          </p:cNvPr>
          <p:cNvSpPr>
            <a:spLocks noGrp="1"/>
          </p:cNvSpPr>
          <p:nvPr>
            <p:ph type="pic" sz="quarter" idx="32" hasCustomPrompt="1"/>
          </p:nvPr>
        </p:nvSpPr>
        <p:spPr bwMode="gray">
          <a:xfrm>
            <a:off x="8256240" y="1557032"/>
            <a:ext cx="3528000" cy="2520000"/>
          </a:xfrm>
          <a:solidFill>
            <a:schemeClr val="accent3"/>
          </a:solidFill>
        </p:spPr>
        <p:txBody>
          <a:bodyPr tIns="93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To add a picture click the icon</a:t>
            </a:r>
          </a:p>
        </p:txBody>
      </p:sp>
      <p:sp>
        <p:nvSpPr>
          <p:cNvPr id="4" name="Fußzeilenplatzhalter 3">
            <a:extLst>
              <a:ext uri="{FF2B5EF4-FFF2-40B4-BE49-F238E27FC236}">
                <a16:creationId xmlns:a16="http://schemas.microsoft.com/office/drawing/2014/main" id="{1082493A-796E-44DD-9F72-6717EB7E3E86}"/>
              </a:ext>
            </a:extLst>
          </p:cNvPr>
          <p:cNvSpPr>
            <a:spLocks noGrp="1"/>
          </p:cNvSpPr>
          <p:nvPr>
            <p:ph type="ftr" sz="quarter" idx="37"/>
          </p:nvPr>
        </p:nvSpPr>
        <p:spPr bwMode="gray"/>
        <p:txBody>
          <a:bodyPr/>
          <a:lstStyle/>
          <a:p>
            <a:r>
              <a:rPr lang="en-GB"/>
              <a:t>BayWa r.e. AG Company Presentation 2024</a:t>
            </a:r>
            <a:endParaRPr lang="en-US"/>
          </a:p>
        </p:txBody>
      </p:sp>
      <p:sp>
        <p:nvSpPr>
          <p:cNvPr id="32" name="Rechteck 31">
            <a:extLst>
              <a:ext uri="{FF2B5EF4-FFF2-40B4-BE49-F238E27FC236}">
                <a16:creationId xmlns:a16="http://schemas.microsoft.com/office/drawing/2014/main" id="{DBA536E2-E88D-4392-BE87-617217DAECCC}"/>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34" name="Grafik 33">
            <a:extLst>
              <a:ext uri="{FF2B5EF4-FFF2-40B4-BE49-F238E27FC236}">
                <a16:creationId xmlns:a16="http://schemas.microsoft.com/office/drawing/2014/main" id="{EB3D9CCB-E444-4A2E-8A4C-ADD8ABCA3DA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gray">
          <a:xfrm>
            <a:off x="12432704" y="3356992"/>
            <a:ext cx="476316" cy="228632"/>
          </a:xfrm>
          <a:prstGeom prst="rect">
            <a:avLst/>
          </a:prstGeom>
        </p:spPr>
      </p:pic>
      <p:sp>
        <p:nvSpPr>
          <p:cNvPr id="33" name="Textplatzhalter 20">
            <a:extLst>
              <a:ext uri="{FF2B5EF4-FFF2-40B4-BE49-F238E27FC236}">
                <a16:creationId xmlns:a16="http://schemas.microsoft.com/office/drawing/2014/main" id="{7DA3FA56-E784-47B0-98DB-50DFA539B2B6}"/>
              </a:ext>
            </a:extLst>
          </p:cNvPr>
          <p:cNvSpPr>
            <a:spLocks noGrp="1"/>
          </p:cNvSpPr>
          <p:nvPr>
            <p:ph type="body" sz="quarter" idx="38" hasCustomPrompt="1"/>
          </p:nvPr>
        </p:nvSpPr>
        <p:spPr bwMode="gray">
          <a:xfrm>
            <a:off x="407368" y="3068759"/>
            <a:ext cx="3529315"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 name="connsiteX0" fmla="*/ 0 w 719840"/>
              <a:gd name="connsiteY0" fmla="*/ 6885383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6885383"/>
                </a:moveTo>
                <a:lnTo>
                  <a:pt x="719840" y="0"/>
                </a:lnTo>
                <a:lnTo>
                  <a:pt x="719840" y="6885383"/>
                </a:lnTo>
                <a:lnTo>
                  <a:pt x="0" y="6885383"/>
                </a:lnTo>
                <a:close/>
              </a:path>
            </a:pathLst>
          </a:custGeom>
          <a:solidFill>
            <a:schemeClr val="accent1">
              <a:alpha val="66000"/>
            </a:schemeClr>
          </a:solidFill>
        </p:spPr>
        <p:txBody>
          <a:bodyPr vert="horz" wrap="square" lIns="0" tIns="0" rIns="0" bIns="0" rtlCol="0">
            <a:noAutofit/>
          </a:bodyPr>
          <a:lstStyle>
            <a:lvl1pPr marL="0" indent="0">
              <a:spcBef>
                <a:spcPts val="0"/>
              </a:spcBef>
              <a:spcAft>
                <a:spcPts val="0"/>
              </a:spcAft>
              <a:buFont typeface="Arial" panose="020B0604020202020204" pitchFamily="34" charset="0"/>
              <a:buNone/>
              <a:defRPr lang="en-US" sz="600" b="0" noProof="0" dirty="0">
                <a:solidFill>
                  <a:schemeClr val="tx1">
                    <a:alpha val="0"/>
                  </a:schemeClr>
                </a:solidFill>
              </a:defRPr>
            </a:lvl1pPr>
            <a:lvl2pPr marL="0" indent="0">
              <a:spcBef>
                <a:spcPts val="0"/>
              </a:spcBef>
              <a:spcAft>
                <a:spcPts val="0"/>
              </a:spcAft>
              <a:buFont typeface="Arial" panose="020B0604020202020204" pitchFamily="34" charset="0"/>
              <a:buNone/>
              <a:defRPr sz="600" b="0">
                <a:solidFill>
                  <a:schemeClr val="tx1">
                    <a:alpha val="0"/>
                  </a:schemeClr>
                </a:solidFill>
              </a:defRPr>
            </a:lvl2pPr>
            <a:lvl3pPr marL="0" indent="0">
              <a:spcBef>
                <a:spcPts val="0"/>
              </a:spcBef>
              <a:spcAft>
                <a:spcPts val="0"/>
              </a:spcAft>
              <a:buNone/>
              <a:defRPr sz="600" b="0">
                <a:solidFill>
                  <a:schemeClr val="tx1">
                    <a:alpha val="0"/>
                  </a:schemeClr>
                </a:solidFill>
              </a:defRPr>
            </a:lvl3pPr>
            <a:lvl4pPr marL="0" indent="0">
              <a:spcBef>
                <a:spcPts val="0"/>
              </a:spcBef>
              <a:spcAft>
                <a:spcPts val="0"/>
              </a:spcAft>
              <a:buNone/>
              <a:defRPr sz="600" b="0">
                <a:solidFill>
                  <a:schemeClr val="tx1">
                    <a:alpha val="0"/>
                  </a:schemeClr>
                </a:solidFill>
              </a:defRPr>
            </a:lvl4pPr>
            <a:lvl5pPr marL="0" indent="0">
              <a:spcBef>
                <a:spcPts val="0"/>
              </a:spcBef>
              <a:spcAft>
                <a:spcPts val="0"/>
              </a:spcAft>
              <a:buNone/>
              <a:defRPr sz="600" b="0">
                <a:solidFill>
                  <a:schemeClr val="tx1">
                    <a:alpha val="0"/>
                  </a:schemeClr>
                </a:solidFill>
              </a:defRPr>
            </a:lvl5pPr>
            <a:lvl6pPr marL="0" indent="0">
              <a:spcBef>
                <a:spcPts val="0"/>
              </a:spcBef>
              <a:spcAft>
                <a:spcPts val="0"/>
              </a:spcAft>
              <a:buNone/>
              <a:defRPr sz="600" b="0">
                <a:solidFill>
                  <a:schemeClr val="tx1">
                    <a:alpha val="0"/>
                  </a:schemeClr>
                </a:solidFill>
              </a:defRPr>
            </a:lvl6pPr>
            <a:lvl7pPr marL="0" indent="0">
              <a:spcBef>
                <a:spcPts val="0"/>
              </a:spcBef>
              <a:spcAft>
                <a:spcPts val="0"/>
              </a:spcAft>
              <a:buNone/>
              <a:defRPr sz="600" b="0">
                <a:solidFill>
                  <a:schemeClr val="tx1">
                    <a:alpha val="0"/>
                  </a:schemeClr>
                </a:solidFill>
              </a:defRPr>
            </a:lvl7pPr>
            <a:lvl8pPr marL="0" indent="0">
              <a:spcBef>
                <a:spcPts val="0"/>
              </a:spcBef>
              <a:spcAft>
                <a:spcPts val="0"/>
              </a:spcAft>
              <a:buNone/>
              <a:defRPr sz="600" b="0">
                <a:solidFill>
                  <a:schemeClr val="tx1">
                    <a:alpha val="0"/>
                  </a:schemeClr>
                </a:solidFill>
              </a:defRPr>
            </a:lvl8pPr>
            <a:lvl9pPr marL="0" indent="0">
              <a:spcBef>
                <a:spcPts val="0"/>
              </a:spcBef>
              <a:spcAft>
                <a:spcPts val="0"/>
              </a:spcAft>
              <a:buNone/>
              <a:defRPr sz="600" b="0">
                <a:solidFill>
                  <a:schemeClr val="tx1">
                    <a:alpha val="0"/>
                  </a:schemeClr>
                </a:solidFill>
              </a:defRPr>
            </a:lvl9pPr>
          </a:lstStyle>
          <a:p>
            <a:pPr lvl="0"/>
            <a:r>
              <a:rPr lang="en-US" noProof="0"/>
              <a:t> </a:t>
            </a:r>
          </a:p>
        </p:txBody>
      </p:sp>
      <p:sp>
        <p:nvSpPr>
          <p:cNvPr id="41" name="Textplatzhalter 20">
            <a:extLst>
              <a:ext uri="{FF2B5EF4-FFF2-40B4-BE49-F238E27FC236}">
                <a16:creationId xmlns:a16="http://schemas.microsoft.com/office/drawing/2014/main" id="{B9BD6EAE-17A2-4EA5-A3D3-273D5E2832AC}"/>
              </a:ext>
            </a:extLst>
          </p:cNvPr>
          <p:cNvSpPr>
            <a:spLocks noGrp="1"/>
          </p:cNvSpPr>
          <p:nvPr>
            <p:ph type="body" sz="quarter" idx="39" hasCustomPrompt="1"/>
          </p:nvPr>
        </p:nvSpPr>
        <p:spPr bwMode="gray">
          <a:xfrm>
            <a:off x="4297115" y="3068960"/>
            <a:ext cx="3600000"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marL="0" indent="0" algn="l">
              <a:spcBef>
                <a:spcPts val="0"/>
              </a:spcBef>
              <a:spcAft>
                <a:spcPts val="0"/>
              </a:spcAft>
              <a:buFont typeface="Arial" panose="020B0604020202020204" pitchFamily="34" charset="0"/>
              <a:buNone/>
              <a:defRPr sz="600">
                <a:solidFill>
                  <a:schemeClr val="accent1">
                    <a:alpha val="0"/>
                  </a:schemeClr>
                </a:solidFill>
              </a:defRPr>
            </a:lvl1pPr>
            <a:lvl2pPr marL="0" indent="0" algn="l">
              <a:spcBef>
                <a:spcPts val="0"/>
              </a:spcBef>
              <a:spcAft>
                <a:spcPts val="0"/>
              </a:spcAft>
              <a:buFont typeface="Arial" panose="020B0604020202020204" pitchFamily="34" charset="0"/>
              <a:buNone/>
              <a:defRPr sz="600">
                <a:solidFill>
                  <a:schemeClr val="tx1">
                    <a:alpha val="0"/>
                  </a:schemeClr>
                </a:solidFill>
              </a:defRPr>
            </a:lvl2pPr>
            <a:lvl3pPr marL="0" indent="0" algn="l">
              <a:spcBef>
                <a:spcPts val="0"/>
              </a:spcBef>
              <a:spcAft>
                <a:spcPts val="0"/>
              </a:spcAft>
              <a:buNone/>
              <a:defRPr sz="600">
                <a:solidFill>
                  <a:schemeClr val="tx1">
                    <a:alpha val="0"/>
                  </a:schemeClr>
                </a:solidFill>
              </a:defRPr>
            </a:lvl3pPr>
            <a:lvl4pPr marL="0" indent="0" algn="l">
              <a:spcBef>
                <a:spcPts val="0"/>
              </a:spcBef>
              <a:spcAft>
                <a:spcPts val="0"/>
              </a:spcAft>
              <a:buNone/>
              <a:defRPr sz="600">
                <a:solidFill>
                  <a:schemeClr val="tx1">
                    <a:alpha val="0"/>
                  </a:schemeClr>
                </a:solidFill>
              </a:defRPr>
            </a:lvl4pPr>
            <a:lvl5pPr marL="0" indent="0" algn="l">
              <a:spcBef>
                <a:spcPts val="0"/>
              </a:spcBef>
              <a:spcAft>
                <a:spcPts val="0"/>
              </a:spcAft>
              <a:buNone/>
              <a:defRPr sz="600">
                <a:solidFill>
                  <a:schemeClr val="tx1">
                    <a:alpha val="0"/>
                  </a:schemeClr>
                </a:solidFill>
              </a:defRPr>
            </a:lvl5pPr>
            <a:lvl6pPr marL="0" indent="0" algn="l">
              <a:spcBef>
                <a:spcPts val="0"/>
              </a:spcBef>
              <a:spcAft>
                <a:spcPts val="0"/>
              </a:spcAft>
              <a:buNone/>
              <a:defRPr sz="600">
                <a:solidFill>
                  <a:schemeClr val="tx1">
                    <a:alpha val="0"/>
                  </a:schemeClr>
                </a:solidFill>
              </a:defRPr>
            </a:lvl6pPr>
            <a:lvl7pPr marL="0" indent="0" algn="l">
              <a:spcBef>
                <a:spcPts val="0"/>
              </a:spcBef>
              <a:spcAft>
                <a:spcPts val="0"/>
              </a:spcAft>
              <a:buNone/>
              <a:defRPr sz="600">
                <a:solidFill>
                  <a:schemeClr val="tx1">
                    <a:alpha val="0"/>
                  </a:schemeClr>
                </a:solidFill>
              </a:defRPr>
            </a:lvl7pPr>
            <a:lvl8pPr marL="0" indent="0" algn="l">
              <a:spcBef>
                <a:spcPts val="0"/>
              </a:spcBef>
              <a:spcAft>
                <a:spcPts val="0"/>
              </a:spcAft>
              <a:buNone/>
              <a:defRPr sz="600">
                <a:solidFill>
                  <a:schemeClr val="tx1">
                    <a:alpha val="0"/>
                  </a:schemeClr>
                </a:solidFill>
              </a:defRPr>
            </a:lvl8pPr>
            <a:lvl9pPr marL="0" indent="0" algn="l">
              <a:spcBef>
                <a:spcPts val="0"/>
              </a:spcBef>
              <a:spcAft>
                <a:spcPts val="0"/>
              </a:spcAft>
              <a:buNone/>
              <a:defRPr sz="600">
                <a:solidFill>
                  <a:schemeClr val="tx1">
                    <a:alpha val="0"/>
                  </a:schemeClr>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2" name="Textplatzhalter 16">
            <a:extLst>
              <a:ext uri="{FF2B5EF4-FFF2-40B4-BE49-F238E27FC236}">
                <a16:creationId xmlns:a16="http://schemas.microsoft.com/office/drawing/2014/main" id="{5D5F27B9-6343-4228-BB14-46EB812A9353}"/>
              </a:ext>
            </a:extLst>
          </p:cNvPr>
          <p:cNvSpPr>
            <a:spLocks noGrp="1"/>
          </p:cNvSpPr>
          <p:nvPr>
            <p:ph type="body" sz="quarter" idx="40" hasCustomPrompt="1"/>
          </p:nvPr>
        </p:nvSpPr>
        <p:spPr bwMode="gray">
          <a:xfrm>
            <a:off x="4297735" y="3428960"/>
            <a:ext cx="3600000" cy="648000"/>
          </a:xfrm>
          <a:solidFill>
            <a:schemeClr val="accent1"/>
          </a:solidFill>
        </p:spPr>
        <p:txBody>
          <a:bodyPr lIns="108000" tIns="72000" rIns="108000" bIns="144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US" noProof="0"/>
              <a:t>Click to add text</a:t>
            </a:r>
          </a:p>
        </p:txBody>
      </p:sp>
      <p:sp>
        <p:nvSpPr>
          <p:cNvPr id="43" name="Textplatzhalter 20">
            <a:extLst>
              <a:ext uri="{FF2B5EF4-FFF2-40B4-BE49-F238E27FC236}">
                <a16:creationId xmlns:a16="http://schemas.microsoft.com/office/drawing/2014/main" id="{F641B558-E6FB-4165-A2A1-E7B4F1104A6E}"/>
              </a:ext>
            </a:extLst>
          </p:cNvPr>
          <p:cNvSpPr>
            <a:spLocks noGrp="1"/>
          </p:cNvSpPr>
          <p:nvPr>
            <p:ph type="body" sz="quarter" idx="41" hasCustomPrompt="1"/>
          </p:nvPr>
        </p:nvSpPr>
        <p:spPr bwMode="gray">
          <a:xfrm>
            <a:off x="4295800" y="3068960"/>
            <a:ext cx="3600000"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 name="connsiteX0" fmla="*/ 0 w 719840"/>
              <a:gd name="connsiteY0" fmla="*/ 6885383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6885383"/>
                </a:moveTo>
                <a:lnTo>
                  <a:pt x="719840" y="0"/>
                </a:lnTo>
                <a:lnTo>
                  <a:pt x="719840" y="6885383"/>
                </a:lnTo>
                <a:lnTo>
                  <a:pt x="0" y="6885383"/>
                </a:lnTo>
                <a:close/>
              </a:path>
            </a:pathLst>
          </a:custGeom>
          <a:solidFill>
            <a:schemeClr val="accent1">
              <a:alpha val="66000"/>
            </a:schemeClr>
          </a:solidFill>
        </p:spPr>
        <p:txBody>
          <a:bodyPr vert="horz" wrap="square" lIns="0" tIns="0" rIns="0" bIns="0" rtlCol="0">
            <a:noAutofit/>
          </a:bodyPr>
          <a:lstStyle>
            <a:lvl1pPr marL="0" indent="0">
              <a:spcBef>
                <a:spcPts val="0"/>
              </a:spcBef>
              <a:spcAft>
                <a:spcPts val="0"/>
              </a:spcAft>
              <a:buFont typeface="Arial" panose="020B0604020202020204" pitchFamily="34" charset="0"/>
              <a:buNone/>
              <a:defRPr lang="en-US" sz="600" b="0" noProof="0" dirty="0">
                <a:solidFill>
                  <a:schemeClr val="tx1">
                    <a:alpha val="0"/>
                  </a:schemeClr>
                </a:solidFill>
              </a:defRPr>
            </a:lvl1pPr>
            <a:lvl2pPr marL="0" indent="0">
              <a:spcBef>
                <a:spcPts val="0"/>
              </a:spcBef>
              <a:spcAft>
                <a:spcPts val="0"/>
              </a:spcAft>
              <a:buFont typeface="Arial" panose="020B0604020202020204" pitchFamily="34" charset="0"/>
              <a:buNone/>
              <a:defRPr sz="600" b="0">
                <a:solidFill>
                  <a:schemeClr val="tx1">
                    <a:alpha val="0"/>
                  </a:schemeClr>
                </a:solidFill>
              </a:defRPr>
            </a:lvl2pPr>
            <a:lvl3pPr marL="0" indent="0">
              <a:spcBef>
                <a:spcPts val="0"/>
              </a:spcBef>
              <a:spcAft>
                <a:spcPts val="0"/>
              </a:spcAft>
              <a:buNone/>
              <a:defRPr sz="600" b="0">
                <a:solidFill>
                  <a:schemeClr val="tx1">
                    <a:alpha val="0"/>
                  </a:schemeClr>
                </a:solidFill>
              </a:defRPr>
            </a:lvl3pPr>
            <a:lvl4pPr marL="0" indent="0">
              <a:spcBef>
                <a:spcPts val="0"/>
              </a:spcBef>
              <a:spcAft>
                <a:spcPts val="0"/>
              </a:spcAft>
              <a:buNone/>
              <a:defRPr sz="600" b="0">
                <a:solidFill>
                  <a:schemeClr val="tx1">
                    <a:alpha val="0"/>
                  </a:schemeClr>
                </a:solidFill>
              </a:defRPr>
            </a:lvl4pPr>
            <a:lvl5pPr marL="0" indent="0">
              <a:spcBef>
                <a:spcPts val="0"/>
              </a:spcBef>
              <a:spcAft>
                <a:spcPts val="0"/>
              </a:spcAft>
              <a:buNone/>
              <a:defRPr sz="600" b="0">
                <a:solidFill>
                  <a:schemeClr val="tx1">
                    <a:alpha val="0"/>
                  </a:schemeClr>
                </a:solidFill>
              </a:defRPr>
            </a:lvl5pPr>
            <a:lvl6pPr marL="0" indent="0">
              <a:spcBef>
                <a:spcPts val="0"/>
              </a:spcBef>
              <a:spcAft>
                <a:spcPts val="0"/>
              </a:spcAft>
              <a:buNone/>
              <a:defRPr sz="600" b="0">
                <a:solidFill>
                  <a:schemeClr val="tx1">
                    <a:alpha val="0"/>
                  </a:schemeClr>
                </a:solidFill>
              </a:defRPr>
            </a:lvl6pPr>
            <a:lvl7pPr marL="0" indent="0">
              <a:spcBef>
                <a:spcPts val="0"/>
              </a:spcBef>
              <a:spcAft>
                <a:spcPts val="0"/>
              </a:spcAft>
              <a:buNone/>
              <a:defRPr sz="600" b="0">
                <a:solidFill>
                  <a:schemeClr val="tx1">
                    <a:alpha val="0"/>
                  </a:schemeClr>
                </a:solidFill>
              </a:defRPr>
            </a:lvl7pPr>
            <a:lvl8pPr marL="0" indent="0">
              <a:spcBef>
                <a:spcPts val="0"/>
              </a:spcBef>
              <a:spcAft>
                <a:spcPts val="0"/>
              </a:spcAft>
              <a:buNone/>
              <a:defRPr sz="600" b="0">
                <a:solidFill>
                  <a:schemeClr val="tx1">
                    <a:alpha val="0"/>
                  </a:schemeClr>
                </a:solidFill>
              </a:defRPr>
            </a:lvl8pPr>
            <a:lvl9pPr marL="0" indent="0">
              <a:spcBef>
                <a:spcPts val="0"/>
              </a:spcBef>
              <a:spcAft>
                <a:spcPts val="0"/>
              </a:spcAft>
              <a:buNone/>
              <a:defRPr sz="600" b="0">
                <a:solidFill>
                  <a:schemeClr val="tx1">
                    <a:alpha val="0"/>
                  </a:schemeClr>
                </a:solidFill>
              </a:defRPr>
            </a:lvl9pPr>
          </a:lstStyle>
          <a:p>
            <a:pPr lvl="0"/>
            <a:r>
              <a:rPr lang="en-US" noProof="0"/>
              <a:t> </a:t>
            </a:r>
          </a:p>
        </p:txBody>
      </p:sp>
      <p:sp>
        <p:nvSpPr>
          <p:cNvPr id="44" name="Textplatzhalter 20">
            <a:extLst>
              <a:ext uri="{FF2B5EF4-FFF2-40B4-BE49-F238E27FC236}">
                <a16:creationId xmlns:a16="http://schemas.microsoft.com/office/drawing/2014/main" id="{A8CA13F9-E5B8-42AA-B066-359DFD7D65D6}"/>
              </a:ext>
            </a:extLst>
          </p:cNvPr>
          <p:cNvSpPr>
            <a:spLocks noGrp="1"/>
          </p:cNvSpPr>
          <p:nvPr>
            <p:ph type="body" sz="quarter" idx="42" hasCustomPrompt="1"/>
          </p:nvPr>
        </p:nvSpPr>
        <p:spPr bwMode="gray">
          <a:xfrm>
            <a:off x="8256020" y="3069161"/>
            <a:ext cx="3528000"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marL="0" indent="0" algn="l">
              <a:spcBef>
                <a:spcPts val="0"/>
              </a:spcBef>
              <a:spcAft>
                <a:spcPts val="0"/>
              </a:spcAft>
              <a:buFont typeface="Arial" panose="020B0604020202020204" pitchFamily="34" charset="0"/>
              <a:buNone/>
              <a:defRPr sz="600">
                <a:solidFill>
                  <a:schemeClr val="accent1">
                    <a:alpha val="0"/>
                  </a:schemeClr>
                </a:solidFill>
              </a:defRPr>
            </a:lvl1pPr>
            <a:lvl2pPr marL="0" indent="0" algn="l">
              <a:spcBef>
                <a:spcPts val="0"/>
              </a:spcBef>
              <a:spcAft>
                <a:spcPts val="0"/>
              </a:spcAft>
              <a:buFont typeface="Arial" panose="020B0604020202020204" pitchFamily="34" charset="0"/>
              <a:buNone/>
              <a:defRPr sz="600">
                <a:solidFill>
                  <a:schemeClr val="tx1">
                    <a:alpha val="0"/>
                  </a:schemeClr>
                </a:solidFill>
              </a:defRPr>
            </a:lvl2pPr>
            <a:lvl3pPr marL="0" indent="0" algn="l">
              <a:spcBef>
                <a:spcPts val="0"/>
              </a:spcBef>
              <a:spcAft>
                <a:spcPts val="0"/>
              </a:spcAft>
              <a:buNone/>
              <a:defRPr sz="600">
                <a:solidFill>
                  <a:schemeClr val="tx1">
                    <a:alpha val="0"/>
                  </a:schemeClr>
                </a:solidFill>
              </a:defRPr>
            </a:lvl3pPr>
            <a:lvl4pPr marL="0" indent="0" algn="l">
              <a:spcBef>
                <a:spcPts val="0"/>
              </a:spcBef>
              <a:spcAft>
                <a:spcPts val="0"/>
              </a:spcAft>
              <a:buNone/>
              <a:defRPr sz="600">
                <a:solidFill>
                  <a:schemeClr val="tx1">
                    <a:alpha val="0"/>
                  </a:schemeClr>
                </a:solidFill>
              </a:defRPr>
            </a:lvl4pPr>
            <a:lvl5pPr marL="0" indent="0" algn="l">
              <a:spcBef>
                <a:spcPts val="0"/>
              </a:spcBef>
              <a:spcAft>
                <a:spcPts val="0"/>
              </a:spcAft>
              <a:buNone/>
              <a:defRPr sz="600">
                <a:solidFill>
                  <a:schemeClr val="tx1">
                    <a:alpha val="0"/>
                  </a:schemeClr>
                </a:solidFill>
              </a:defRPr>
            </a:lvl5pPr>
            <a:lvl6pPr marL="0" indent="0" algn="l">
              <a:spcBef>
                <a:spcPts val="0"/>
              </a:spcBef>
              <a:spcAft>
                <a:spcPts val="0"/>
              </a:spcAft>
              <a:buNone/>
              <a:defRPr sz="600">
                <a:solidFill>
                  <a:schemeClr val="tx1">
                    <a:alpha val="0"/>
                  </a:schemeClr>
                </a:solidFill>
              </a:defRPr>
            </a:lvl6pPr>
            <a:lvl7pPr marL="0" indent="0" algn="l">
              <a:spcBef>
                <a:spcPts val="0"/>
              </a:spcBef>
              <a:spcAft>
                <a:spcPts val="0"/>
              </a:spcAft>
              <a:buNone/>
              <a:defRPr sz="600">
                <a:solidFill>
                  <a:schemeClr val="tx1">
                    <a:alpha val="0"/>
                  </a:schemeClr>
                </a:solidFill>
              </a:defRPr>
            </a:lvl7pPr>
            <a:lvl8pPr marL="0" indent="0" algn="l">
              <a:spcBef>
                <a:spcPts val="0"/>
              </a:spcBef>
              <a:spcAft>
                <a:spcPts val="0"/>
              </a:spcAft>
              <a:buNone/>
              <a:defRPr sz="600">
                <a:solidFill>
                  <a:schemeClr val="tx1">
                    <a:alpha val="0"/>
                  </a:schemeClr>
                </a:solidFill>
              </a:defRPr>
            </a:lvl8pPr>
            <a:lvl9pPr marL="0" indent="0" algn="l">
              <a:spcBef>
                <a:spcPts val="0"/>
              </a:spcBef>
              <a:spcAft>
                <a:spcPts val="0"/>
              </a:spcAft>
              <a:buNone/>
              <a:defRPr sz="600">
                <a:solidFill>
                  <a:schemeClr val="tx1">
                    <a:alpha val="0"/>
                  </a:schemeClr>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5" name="Textplatzhalter 16">
            <a:extLst>
              <a:ext uri="{FF2B5EF4-FFF2-40B4-BE49-F238E27FC236}">
                <a16:creationId xmlns:a16="http://schemas.microsoft.com/office/drawing/2014/main" id="{C500F1F4-95C9-40E3-9727-AFF8FC200650}"/>
              </a:ext>
            </a:extLst>
          </p:cNvPr>
          <p:cNvSpPr>
            <a:spLocks noGrp="1"/>
          </p:cNvSpPr>
          <p:nvPr>
            <p:ph type="body" sz="quarter" idx="43" hasCustomPrompt="1"/>
          </p:nvPr>
        </p:nvSpPr>
        <p:spPr bwMode="gray">
          <a:xfrm>
            <a:off x="8256640" y="3429161"/>
            <a:ext cx="3528000" cy="648000"/>
          </a:xfrm>
          <a:solidFill>
            <a:schemeClr val="accent1"/>
          </a:solidFill>
        </p:spPr>
        <p:txBody>
          <a:bodyPr lIns="108000" tIns="72000" rIns="108000" bIns="144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US" noProof="0"/>
              <a:t>Click to add text</a:t>
            </a:r>
          </a:p>
        </p:txBody>
      </p:sp>
      <p:sp>
        <p:nvSpPr>
          <p:cNvPr id="46" name="Textplatzhalter 20">
            <a:extLst>
              <a:ext uri="{FF2B5EF4-FFF2-40B4-BE49-F238E27FC236}">
                <a16:creationId xmlns:a16="http://schemas.microsoft.com/office/drawing/2014/main" id="{709B3A3E-414D-41A6-8ED1-DEF67C204ECF}"/>
              </a:ext>
            </a:extLst>
          </p:cNvPr>
          <p:cNvSpPr>
            <a:spLocks noGrp="1"/>
          </p:cNvSpPr>
          <p:nvPr>
            <p:ph type="body" sz="quarter" idx="44" hasCustomPrompt="1"/>
          </p:nvPr>
        </p:nvSpPr>
        <p:spPr bwMode="gray">
          <a:xfrm>
            <a:off x="8254705" y="3069161"/>
            <a:ext cx="3528000"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 name="connsiteX0" fmla="*/ 0 w 719840"/>
              <a:gd name="connsiteY0" fmla="*/ 6885383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6885383"/>
                </a:moveTo>
                <a:lnTo>
                  <a:pt x="719840" y="0"/>
                </a:lnTo>
                <a:lnTo>
                  <a:pt x="719840" y="6885383"/>
                </a:lnTo>
                <a:lnTo>
                  <a:pt x="0" y="6885383"/>
                </a:lnTo>
                <a:close/>
              </a:path>
            </a:pathLst>
          </a:custGeom>
          <a:solidFill>
            <a:schemeClr val="accent1">
              <a:alpha val="66000"/>
            </a:schemeClr>
          </a:solidFill>
        </p:spPr>
        <p:txBody>
          <a:bodyPr vert="horz" wrap="square" lIns="0" tIns="0" rIns="0" bIns="0" rtlCol="0">
            <a:noAutofit/>
          </a:bodyPr>
          <a:lstStyle>
            <a:lvl1pPr marL="0" indent="0">
              <a:spcBef>
                <a:spcPts val="0"/>
              </a:spcBef>
              <a:spcAft>
                <a:spcPts val="0"/>
              </a:spcAft>
              <a:buFont typeface="Arial" panose="020B0604020202020204" pitchFamily="34" charset="0"/>
              <a:buNone/>
              <a:defRPr lang="en-US" sz="600" b="0" noProof="0" dirty="0">
                <a:solidFill>
                  <a:schemeClr val="tx1">
                    <a:alpha val="0"/>
                  </a:schemeClr>
                </a:solidFill>
              </a:defRPr>
            </a:lvl1pPr>
            <a:lvl2pPr marL="0" indent="0">
              <a:spcBef>
                <a:spcPts val="0"/>
              </a:spcBef>
              <a:spcAft>
                <a:spcPts val="0"/>
              </a:spcAft>
              <a:buFont typeface="Arial" panose="020B0604020202020204" pitchFamily="34" charset="0"/>
              <a:buNone/>
              <a:defRPr sz="600" b="0">
                <a:solidFill>
                  <a:schemeClr val="tx1">
                    <a:alpha val="0"/>
                  </a:schemeClr>
                </a:solidFill>
              </a:defRPr>
            </a:lvl2pPr>
            <a:lvl3pPr marL="0" indent="0">
              <a:spcBef>
                <a:spcPts val="0"/>
              </a:spcBef>
              <a:spcAft>
                <a:spcPts val="0"/>
              </a:spcAft>
              <a:buNone/>
              <a:defRPr sz="600" b="0">
                <a:solidFill>
                  <a:schemeClr val="tx1">
                    <a:alpha val="0"/>
                  </a:schemeClr>
                </a:solidFill>
              </a:defRPr>
            </a:lvl3pPr>
            <a:lvl4pPr marL="0" indent="0">
              <a:spcBef>
                <a:spcPts val="0"/>
              </a:spcBef>
              <a:spcAft>
                <a:spcPts val="0"/>
              </a:spcAft>
              <a:buNone/>
              <a:defRPr sz="600" b="0">
                <a:solidFill>
                  <a:schemeClr val="tx1">
                    <a:alpha val="0"/>
                  </a:schemeClr>
                </a:solidFill>
              </a:defRPr>
            </a:lvl4pPr>
            <a:lvl5pPr marL="0" indent="0">
              <a:spcBef>
                <a:spcPts val="0"/>
              </a:spcBef>
              <a:spcAft>
                <a:spcPts val="0"/>
              </a:spcAft>
              <a:buNone/>
              <a:defRPr sz="600" b="0">
                <a:solidFill>
                  <a:schemeClr val="tx1">
                    <a:alpha val="0"/>
                  </a:schemeClr>
                </a:solidFill>
              </a:defRPr>
            </a:lvl5pPr>
            <a:lvl6pPr marL="0" indent="0">
              <a:spcBef>
                <a:spcPts val="0"/>
              </a:spcBef>
              <a:spcAft>
                <a:spcPts val="0"/>
              </a:spcAft>
              <a:buNone/>
              <a:defRPr sz="600" b="0">
                <a:solidFill>
                  <a:schemeClr val="tx1">
                    <a:alpha val="0"/>
                  </a:schemeClr>
                </a:solidFill>
              </a:defRPr>
            </a:lvl6pPr>
            <a:lvl7pPr marL="0" indent="0">
              <a:spcBef>
                <a:spcPts val="0"/>
              </a:spcBef>
              <a:spcAft>
                <a:spcPts val="0"/>
              </a:spcAft>
              <a:buNone/>
              <a:defRPr sz="600" b="0">
                <a:solidFill>
                  <a:schemeClr val="tx1">
                    <a:alpha val="0"/>
                  </a:schemeClr>
                </a:solidFill>
              </a:defRPr>
            </a:lvl7pPr>
            <a:lvl8pPr marL="0" indent="0">
              <a:spcBef>
                <a:spcPts val="0"/>
              </a:spcBef>
              <a:spcAft>
                <a:spcPts val="0"/>
              </a:spcAft>
              <a:buNone/>
              <a:defRPr sz="600" b="0">
                <a:solidFill>
                  <a:schemeClr val="tx1">
                    <a:alpha val="0"/>
                  </a:schemeClr>
                </a:solidFill>
              </a:defRPr>
            </a:lvl8pPr>
            <a:lvl9pPr marL="0" indent="0">
              <a:spcBef>
                <a:spcPts val="0"/>
              </a:spcBef>
              <a:spcAft>
                <a:spcPts val="0"/>
              </a:spcAft>
              <a:buNone/>
              <a:defRPr sz="600" b="0">
                <a:solidFill>
                  <a:schemeClr val="tx1">
                    <a:alpha val="0"/>
                  </a:schemeClr>
                </a:solidFill>
              </a:defRPr>
            </a:lvl9pPr>
          </a:lstStyle>
          <a:p>
            <a:pPr lvl="0"/>
            <a:r>
              <a:rPr lang="en-US" noProof="0"/>
              <a:t> </a:t>
            </a:r>
          </a:p>
        </p:txBody>
      </p:sp>
    </p:spTree>
    <p:extLst>
      <p:ext uri="{BB962C8B-B14F-4D97-AF65-F5344CB8AC3E}">
        <p14:creationId xmlns:p14="http://schemas.microsoft.com/office/powerpoint/2010/main" val="3350763314"/>
      </p:ext>
    </p:extLst>
  </p:cSld>
  <p:clrMapOvr>
    <a:masterClrMapping/>
  </p:clrMapOvr>
  <p:extLst>
    <p:ext uri="{DCECCB84-F9BA-43D5-87BE-67443E8EF086}">
      <p15:sldGuideLst xmlns:p15="http://schemas.microsoft.com/office/powerpoint/2012/main">
        <p15:guide id="3" pos="2479">
          <p15:clr>
            <a:srgbClr val="FBAE40"/>
          </p15:clr>
        </p15:guide>
        <p15:guide id="4" pos="2706">
          <p15:clr>
            <a:srgbClr val="FBAE40"/>
          </p15:clr>
        </p15:guide>
        <p15:guide id="5" pos="4974">
          <p15:clr>
            <a:srgbClr val="FBAE40"/>
          </p15:clr>
        </p15:guide>
        <p15:guide id="6" pos="520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four pictures + short text">
    <p:spTree>
      <p:nvGrpSpPr>
        <p:cNvPr id="1" name=""/>
        <p:cNvGrpSpPr/>
        <p:nvPr/>
      </p:nvGrpSpPr>
      <p:grpSpPr>
        <a:xfrm>
          <a:off x="0" y="0"/>
          <a:ext cx="0" cy="0"/>
          <a:chOff x="0" y="0"/>
          <a:chExt cx="0" cy="0"/>
        </a:xfrm>
      </p:grpSpPr>
      <p:sp>
        <p:nvSpPr>
          <p:cNvPr id="10" name="Bildplatzhalter 26">
            <a:extLst>
              <a:ext uri="{FF2B5EF4-FFF2-40B4-BE49-F238E27FC236}">
                <a16:creationId xmlns:a16="http://schemas.microsoft.com/office/drawing/2014/main" id="{D3B6C1FB-5FDD-4069-A5FA-9816E770DDD7}"/>
              </a:ext>
            </a:extLst>
          </p:cNvPr>
          <p:cNvSpPr>
            <a:spLocks noGrp="1"/>
          </p:cNvSpPr>
          <p:nvPr>
            <p:ph type="pic" sz="quarter" idx="17" hasCustomPrompt="1"/>
          </p:nvPr>
        </p:nvSpPr>
        <p:spPr bwMode="gray">
          <a:xfrm>
            <a:off x="407368" y="1916832"/>
            <a:ext cx="2520000" cy="3816000"/>
          </a:xfrm>
          <a:solidFill>
            <a:schemeClr val="accent3"/>
          </a:solidFill>
          <a:ln>
            <a:noFill/>
          </a:ln>
        </p:spPr>
        <p:txBody>
          <a:bodyPr tIns="1512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40" name="Textplatzhalter 39">
            <a:extLst>
              <a:ext uri="{FF2B5EF4-FFF2-40B4-BE49-F238E27FC236}">
                <a16:creationId xmlns:a16="http://schemas.microsoft.com/office/drawing/2014/main" id="{9179E806-EAC0-4E5D-AE96-3056610CD743}"/>
              </a:ext>
            </a:extLst>
          </p:cNvPr>
          <p:cNvSpPr>
            <a:spLocks noGrp="1"/>
          </p:cNvSpPr>
          <p:nvPr>
            <p:ph type="body" sz="quarter" idx="38" hasCustomPrompt="1"/>
          </p:nvPr>
        </p:nvSpPr>
        <p:spPr bwMode="gray">
          <a:xfrm>
            <a:off x="407988" y="4833256"/>
            <a:ext cx="2519362" cy="900000"/>
          </a:xfrm>
          <a:solidFill>
            <a:schemeClr val="accent1">
              <a:alpha val="20000"/>
            </a:schemeClr>
          </a:solidFill>
        </p:spPr>
        <p:txBody>
          <a:bodyPr/>
          <a:lstStyle>
            <a:lvl1pPr>
              <a:defRPr/>
            </a:lvl1pPr>
          </a:lstStyle>
          <a:p>
            <a:pPr lvl="0"/>
            <a:r>
              <a:rPr lang="en-US"/>
              <a:t> </a:t>
            </a:r>
          </a:p>
        </p:txBody>
      </p:sp>
      <p:sp>
        <p:nvSpPr>
          <p:cNvPr id="43" name="Textplatzhalter 42">
            <a:extLst>
              <a:ext uri="{FF2B5EF4-FFF2-40B4-BE49-F238E27FC236}">
                <a16:creationId xmlns:a16="http://schemas.microsoft.com/office/drawing/2014/main" id="{EF115400-4B9C-4760-943D-0A8BE92FB6CB}"/>
              </a:ext>
            </a:extLst>
          </p:cNvPr>
          <p:cNvSpPr>
            <a:spLocks noGrp="1"/>
          </p:cNvSpPr>
          <p:nvPr>
            <p:ph type="body" sz="quarter" idx="39" hasCustomPrompt="1"/>
          </p:nvPr>
        </p:nvSpPr>
        <p:spPr bwMode="gray">
          <a:xfrm flipV="1">
            <a:off x="407368" y="4833256"/>
            <a:ext cx="2519362" cy="900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362" h="906016">
                <a:moveTo>
                  <a:pt x="0" y="0"/>
                </a:moveTo>
                <a:lnTo>
                  <a:pt x="2519362" y="0"/>
                </a:lnTo>
                <a:lnTo>
                  <a:pt x="2519362" y="906016"/>
                </a:lnTo>
                <a:lnTo>
                  <a:pt x="0" y="617043"/>
                </a:lnTo>
                <a:lnTo>
                  <a:pt x="0" y="0"/>
                </a:lnTo>
                <a:close/>
              </a:path>
            </a:pathLst>
          </a:custGeom>
          <a:solidFill>
            <a:schemeClr val="accent1">
              <a:alpha val="40000"/>
            </a:schemeClr>
          </a:solidFill>
        </p:spPr>
        <p:txBody>
          <a:bodyPr wrap="square">
            <a:noAutofit/>
          </a:bodyPr>
          <a:lstStyle>
            <a:lvl1pPr>
              <a:defRPr/>
            </a:lvl1pPr>
          </a:lstStyle>
          <a:p>
            <a:pPr lvl="0"/>
            <a:r>
              <a:rPr lang="en-US"/>
              <a:t> </a:t>
            </a:r>
          </a:p>
        </p:txBody>
      </p:sp>
      <p:sp>
        <p:nvSpPr>
          <p:cNvPr id="44" name="Textplatzhalter 39">
            <a:extLst>
              <a:ext uri="{FF2B5EF4-FFF2-40B4-BE49-F238E27FC236}">
                <a16:creationId xmlns:a16="http://schemas.microsoft.com/office/drawing/2014/main" id="{95E1B193-5A72-4080-9B66-24D77A443071}"/>
              </a:ext>
            </a:extLst>
          </p:cNvPr>
          <p:cNvSpPr>
            <a:spLocks noGrp="1"/>
          </p:cNvSpPr>
          <p:nvPr>
            <p:ph type="body" sz="quarter" idx="40" hasCustomPrompt="1"/>
          </p:nvPr>
        </p:nvSpPr>
        <p:spPr bwMode="gray">
          <a:xfrm>
            <a:off x="407368" y="5121256"/>
            <a:ext cx="2519362" cy="612000"/>
          </a:xfrm>
          <a:solidFill>
            <a:schemeClr val="accent1">
              <a:alpha val="60000"/>
            </a:schemeClr>
          </a:solidFill>
        </p:spPr>
        <p:txBody>
          <a:bodyPr/>
          <a:lstStyle>
            <a:lvl1pPr>
              <a:defRPr/>
            </a:lvl1pPr>
          </a:lstStyle>
          <a:p>
            <a:pPr lvl="0"/>
            <a:r>
              <a:rPr lang="en-US"/>
              <a:t> </a:t>
            </a:r>
          </a:p>
        </p:txBody>
      </p:sp>
      <p:sp>
        <p:nvSpPr>
          <p:cNvPr id="2" name="Titel 1">
            <a:extLst>
              <a:ext uri="{FF2B5EF4-FFF2-40B4-BE49-F238E27FC236}">
                <a16:creationId xmlns:a16="http://schemas.microsoft.com/office/drawing/2014/main" id="{892331C1-F248-4F9A-B913-1ECF64853F44}"/>
              </a:ext>
            </a:extLst>
          </p:cNvPr>
          <p:cNvSpPr>
            <a:spLocks noGrp="1"/>
          </p:cNvSpPr>
          <p:nvPr>
            <p:ph type="title" hasCustomPrompt="1"/>
          </p:nvPr>
        </p:nvSpPr>
        <p:spPr bwMode="gray"/>
        <p:txBody>
          <a:bodyPr/>
          <a:lstStyle>
            <a:lvl1pPr>
              <a:defRPr/>
            </a:lvl1pPr>
          </a:lstStyle>
          <a:p>
            <a:r>
              <a:rPr lang="en-US" noProof="0"/>
              <a:t>Click to add headline</a:t>
            </a:r>
            <a:endParaRPr lang="en-US"/>
          </a:p>
        </p:txBody>
      </p:sp>
      <p:sp>
        <p:nvSpPr>
          <p:cNvPr id="5" name="Foliennummernplatzhalter 4">
            <a:extLst>
              <a:ext uri="{FF2B5EF4-FFF2-40B4-BE49-F238E27FC236}">
                <a16:creationId xmlns:a16="http://schemas.microsoft.com/office/drawing/2014/main" id="{E08DEEAD-C858-4DE2-9E16-7D3D41A4D7D7}"/>
              </a:ext>
            </a:extLst>
          </p:cNvPr>
          <p:cNvSpPr>
            <a:spLocks noGrp="1"/>
          </p:cNvSpPr>
          <p:nvPr>
            <p:ph type="sldNum" sz="quarter" idx="12"/>
          </p:nvPr>
        </p:nvSpPr>
        <p:spPr bwMode="gray"/>
        <p:txBody>
          <a:bodyPr/>
          <a:lstStyle/>
          <a:p>
            <a:fld id="{3B140A39-527A-45CF-A911-B921024B92E6}" type="slidenum">
              <a:rPr lang="en-US" smtClean="0"/>
              <a:t>‹#›</a:t>
            </a:fld>
            <a:endParaRPr lang="en-US"/>
          </a:p>
        </p:txBody>
      </p:sp>
      <p:sp>
        <p:nvSpPr>
          <p:cNvPr id="6" name="Textplatzhalter 5">
            <a:extLst>
              <a:ext uri="{FF2B5EF4-FFF2-40B4-BE49-F238E27FC236}">
                <a16:creationId xmlns:a16="http://schemas.microsoft.com/office/drawing/2014/main" id="{B3E2896C-3CAC-4048-91D9-B5AD2104BC81}"/>
              </a:ext>
            </a:extLst>
          </p:cNvPr>
          <p:cNvSpPr>
            <a:spLocks noGrp="1"/>
          </p:cNvSpPr>
          <p:nvPr>
            <p:ph type="body" sz="quarter" idx="13" hasCustomPrompt="1"/>
          </p:nvPr>
        </p:nvSpPr>
        <p:spPr bwMode="gray">
          <a:xfrm>
            <a:off x="407988" y="1556767"/>
            <a:ext cx="2520000" cy="252000"/>
          </a:xfrm>
        </p:spPr>
        <p:txBody>
          <a:bodyPr/>
          <a:lstStyle>
            <a:lvl1pPr marL="0" indent="0">
              <a:spcBef>
                <a:spcPts val="0"/>
              </a:spcBef>
              <a:spcAft>
                <a:spcPts val="0"/>
              </a:spcAft>
              <a:buFont typeface="Arial" panose="020B0604020202020204" pitchFamily="34" charset="0"/>
              <a:buNone/>
              <a:defRPr b="1">
                <a:solidFill>
                  <a:schemeClr val="accent1"/>
                </a:solidFill>
              </a:defRPr>
            </a:lvl1pPr>
            <a:lvl2pPr marL="0" indent="0">
              <a:spcBef>
                <a:spcPts val="0"/>
              </a:spcBef>
              <a:spcAft>
                <a:spcPts val="0"/>
              </a:spcAft>
              <a:buFont typeface="Arial" panose="020B0604020202020204" pitchFamily="34" charset="0"/>
              <a:buNone/>
              <a:defRPr b="1">
                <a:solidFill>
                  <a:schemeClr val="accent1"/>
                </a:solidFill>
              </a:defRPr>
            </a:lvl2pPr>
            <a:lvl3pPr marL="0" indent="0">
              <a:spcBef>
                <a:spcPts val="0"/>
              </a:spcBef>
              <a:spcAft>
                <a:spcPts val="0"/>
              </a:spcAft>
              <a:buNone/>
              <a:defRPr b="1">
                <a:solidFill>
                  <a:schemeClr val="accent1"/>
                </a:solidFill>
              </a:defRPr>
            </a:lvl3pPr>
            <a:lvl4pPr marL="0" indent="0">
              <a:spcBef>
                <a:spcPts val="0"/>
              </a:spcBef>
              <a:spcAft>
                <a:spcPts val="0"/>
              </a:spcAft>
              <a:buNone/>
              <a:defRPr b="1">
                <a:solidFill>
                  <a:schemeClr val="accent1"/>
                </a:solidFill>
              </a:defRPr>
            </a:lvl4pPr>
            <a:lvl5pPr marL="0" indent="0">
              <a:spcBef>
                <a:spcPts val="0"/>
              </a:spcBef>
              <a:spcAft>
                <a:spcPts val="0"/>
              </a:spcAft>
              <a:buNone/>
              <a:defRPr b="1">
                <a:solidFill>
                  <a:schemeClr val="accent1"/>
                </a:solidFill>
              </a:defRPr>
            </a:lvl5pPr>
            <a:lvl6pPr marL="0" indent="0">
              <a:spcBef>
                <a:spcPts val="0"/>
              </a:spcBef>
              <a:spcAft>
                <a:spcPts val="0"/>
              </a:spcAft>
              <a:buNone/>
              <a:defRPr b="1">
                <a:solidFill>
                  <a:schemeClr val="accent1"/>
                </a:solidFill>
              </a:defRPr>
            </a:lvl6pPr>
            <a:lvl7pPr marL="0" indent="0">
              <a:spcBef>
                <a:spcPts val="0"/>
              </a:spcBef>
              <a:spcAft>
                <a:spcPts val="0"/>
              </a:spcAft>
              <a:buNone/>
              <a:defRPr b="1">
                <a:solidFill>
                  <a:schemeClr val="accent1"/>
                </a:solidFill>
              </a:defRPr>
            </a:lvl7pPr>
            <a:lvl8pPr marL="0" indent="0">
              <a:spcBef>
                <a:spcPts val="0"/>
              </a:spcBef>
              <a:spcAft>
                <a:spcPts val="0"/>
              </a:spcAft>
              <a:buNone/>
              <a:defRPr b="1">
                <a:solidFill>
                  <a:schemeClr val="accent1"/>
                </a:solidFill>
              </a:defRPr>
            </a:lvl8pPr>
            <a:lvl9pPr marL="0" indent="0">
              <a:spcBef>
                <a:spcPts val="0"/>
              </a:spcBef>
              <a:spcAft>
                <a:spcPts val="0"/>
              </a:spcAft>
              <a:buNone/>
              <a:defRPr b="1">
                <a:solidFill>
                  <a:schemeClr val="accent1"/>
                </a:solidFill>
              </a:defRPr>
            </a:lvl9pPr>
          </a:lstStyle>
          <a:p>
            <a:pPr lvl="0"/>
            <a:r>
              <a:rPr lang="en-US"/>
              <a:t>Click to add text</a:t>
            </a:r>
          </a:p>
        </p:txBody>
      </p:sp>
      <p:sp>
        <p:nvSpPr>
          <p:cNvPr id="7" name="Textplatzhalter 5">
            <a:extLst>
              <a:ext uri="{FF2B5EF4-FFF2-40B4-BE49-F238E27FC236}">
                <a16:creationId xmlns:a16="http://schemas.microsoft.com/office/drawing/2014/main" id="{AE075BFC-7A14-4D6C-B468-48AEEAAA05EE}"/>
              </a:ext>
            </a:extLst>
          </p:cNvPr>
          <p:cNvSpPr>
            <a:spLocks noGrp="1"/>
          </p:cNvSpPr>
          <p:nvPr>
            <p:ph type="body" sz="quarter" idx="14" hasCustomPrompt="1"/>
          </p:nvPr>
        </p:nvSpPr>
        <p:spPr bwMode="gray">
          <a:xfrm>
            <a:off x="3359976" y="1556792"/>
            <a:ext cx="2520000" cy="252000"/>
          </a:xfrm>
        </p:spPr>
        <p:txBody>
          <a:bodyPr/>
          <a:lstStyle>
            <a:lvl1pPr marL="0" indent="0">
              <a:spcBef>
                <a:spcPts val="0"/>
              </a:spcBef>
              <a:spcAft>
                <a:spcPts val="0"/>
              </a:spcAft>
              <a:buFont typeface="Arial" panose="020B0604020202020204" pitchFamily="34" charset="0"/>
              <a:buNone/>
              <a:defRPr b="1">
                <a:solidFill>
                  <a:schemeClr val="accent1"/>
                </a:solidFill>
              </a:defRPr>
            </a:lvl1pPr>
            <a:lvl2pPr marL="0" indent="0">
              <a:spcBef>
                <a:spcPts val="0"/>
              </a:spcBef>
              <a:spcAft>
                <a:spcPts val="0"/>
              </a:spcAft>
              <a:buFont typeface="Arial" panose="020B0604020202020204" pitchFamily="34" charset="0"/>
              <a:buNone/>
              <a:defRPr b="1">
                <a:solidFill>
                  <a:schemeClr val="accent1"/>
                </a:solidFill>
              </a:defRPr>
            </a:lvl2pPr>
            <a:lvl3pPr marL="0" indent="0">
              <a:spcBef>
                <a:spcPts val="0"/>
              </a:spcBef>
              <a:spcAft>
                <a:spcPts val="0"/>
              </a:spcAft>
              <a:buNone/>
              <a:defRPr b="1">
                <a:solidFill>
                  <a:schemeClr val="accent1"/>
                </a:solidFill>
              </a:defRPr>
            </a:lvl3pPr>
            <a:lvl4pPr marL="0" indent="0">
              <a:spcBef>
                <a:spcPts val="0"/>
              </a:spcBef>
              <a:spcAft>
                <a:spcPts val="0"/>
              </a:spcAft>
              <a:buNone/>
              <a:defRPr b="1">
                <a:solidFill>
                  <a:schemeClr val="accent1"/>
                </a:solidFill>
              </a:defRPr>
            </a:lvl4pPr>
            <a:lvl5pPr marL="0" indent="0">
              <a:spcBef>
                <a:spcPts val="0"/>
              </a:spcBef>
              <a:spcAft>
                <a:spcPts val="0"/>
              </a:spcAft>
              <a:buNone/>
              <a:defRPr b="1">
                <a:solidFill>
                  <a:schemeClr val="accent1"/>
                </a:solidFill>
              </a:defRPr>
            </a:lvl5pPr>
            <a:lvl6pPr marL="0" indent="0">
              <a:spcBef>
                <a:spcPts val="0"/>
              </a:spcBef>
              <a:spcAft>
                <a:spcPts val="0"/>
              </a:spcAft>
              <a:buNone/>
              <a:defRPr b="1">
                <a:solidFill>
                  <a:schemeClr val="accent1"/>
                </a:solidFill>
              </a:defRPr>
            </a:lvl6pPr>
            <a:lvl7pPr marL="0" indent="0">
              <a:spcBef>
                <a:spcPts val="0"/>
              </a:spcBef>
              <a:spcAft>
                <a:spcPts val="0"/>
              </a:spcAft>
              <a:buNone/>
              <a:defRPr b="1">
                <a:solidFill>
                  <a:schemeClr val="accent1"/>
                </a:solidFill>
              </a:defRPr>
            </a:lvl7pPr>
            <a:lvl8pPr marL="0" indent="0">
              <a:spcBef>
                <a:spcPts val="0"/>
              </a:spcBef>
              <a:spcAft>
                <a:spcPts val="0"/>
              </a:spcAft>
              <a:buNone/>
              <a:defRPr b="1">
                <a:solidFill>
                  <a:schemeClr val="accent1"/>
                </a:solidFill>
              </a:defRPr>
            </a:lvl8pPr>
            <a:lvl9pPr marL="0" indent="0">
              <a:spcBef>
                <a:spcPts val="0"/>
              </a:spcBef>
              <a:spcAft>
                <a:spcPts val="0"/>
              </a:spcAft>
              <a:buNone/>
              <a:defRPr b="1">
                <a:solidFill>
                  <a:schemeClr val="accent1"/>
                </a:solidFill>
              </a:defRPr>
            </a:lvl9pPr>
          </a:lstStyle>
          <a:p>
            <a:pPr lvl="0"/>
            <a:r>
              <a:rPr lang="en-US"/>
              <a:t>Click to add text</a:t>
            </a:r>
          </a:p>
        </p:txBody>
      </p:sp>
      <p:sp>
        <p:nvSpPr>
          <p:cNvPr id="8" name="Textplatzhalter 5">
            <a:extLst>
              <a:ext uri="{FF2B5EF4-FFF2-40B4-BE49-F238E27FC236}">
                <a16:creationId xmlns:a16="http://schemas.microsoft.com/office/drawing/2014/main" id="{F0914EC7-BEC6-4520-B439-024986E8AD78}"/>
              </a:ext>
            </a:extLst>
          </p:cNvPr>
          <p:cNvSpPr>
            <a:spLocks noGrp="1"/>
          </p:cNvSpPr>
          <p:nvPr>
            <p:ph type="body" sz="quarter" idx="15" hasCustomPrompt="1"/>
          </p:nvPr>
        </p:nvSpPr>
        <p:spPr bwMode="gray">
          <a:xfrm>
            <a:off x="6312304" y="1556817"/>
            <a:ext cx="2520000" cy="252000"/>
          </a:xfrm>
        </p:spPr>
        <p:txBody>
          <a:bodyPr/>
          <a:lstStyle>
            <a:lvl1pPr marL="0" indent="0">
              <a:spcBef>
                <a:spcPts val="0"/>
              </a:spcBef>
              <a:spcAft>
                <a:spcPts val="0"/>
              </a:spcAft>
              <a:buFont typeface="Arial" panose="020B0604020202020204" pitchFamily="34" charset="0"/>
              <a:buNone/>
              <a:defRPr b="1">
                <a:solidFill>
                  <a:schemeClr val="accent1"/>
                </a:solidFill>
              </a:defRPr>
            </a:lvl1pPr>
            <a:lvl2pPr marL="0" indent="0">
              <a:spcBef>
                <a:spcPts val="0"/>
              </a:spcBef>
              <a:spcAft>
                <a:spcPts val="0"/>
              </a:spcAft>
              <a:buFont typeface="Arial" panose="020B0604020202020204" pitchFamily="34" charset="0"/>
              <a:buNone/>
              <a:defRPr b="1">
                <a:solidFill>
                  <a:schemeClr val="accent1"/>
                </a:solidFill>
              </a:defRPr>
            </a:lvl2pPr>
            <a:lvl3pPr marL="0" indent="0">
              <a:spcBef>
                <a:spcPts val="0"/>
              </a:spcBef>
              <a:spcAft>
                <a:spcPts val="0"/>
              </a:spcAft>
              <a:buNone/>
              <a:defRPr b="1">
                <a:solidFill>
                  <a:schemeClr val="accent1"/>
                </a:solidFill>
              </a:defRPr>
            </a:lvl3pPr>
            <a:lvl4pPr marL="0" indent="0">
              <a:spcBef>
                <a:spcPts val="0"/>
              </a:spcBef>
              <a:spcAft>
                <a:spcPts val="0"/>
              </a:spcAft>
              <a:buNone/>
              <a:defRPr b="1">
                <a:solidFill>
                  <a:schemeClr val="accent1"/>
                </a:solidFill>
              </a:defRPr>
            </a:lvl4pPr>
            <a:lvl5pPr marL="0" indent="0">
              <a:spcBef>
                <a:spcPts val="0"/>
              </a:spcBef>
              <a:spcAft>
                <a:spcPts val="0"/>
              </a:spcAft>
              <a:buNone/>
              <a:defRPr b="1">
                <a:solidFill>
                  <a:schemeClr val="accent1"/>
                </a:solidFill>
              </a:defRPr>
            </a:lvl5pPr>
            <a:lvl6pPr marL="0" indent="0">
              <a:spcBef>
                <a:spcPts val="0"/>
              </a:spcBef>
              <a:spcAft>
                <a:spcPts val="0"/>
              </a:spcAft>
              <a:buNone/>
              <a:defRPr b="1">
                <a:solidFill>
                  <a:schemeClr val="accent1"/>
                </a:solidFill>
              </a:defRPr>
            </a:lvl6pPr>
            <a:lvl7pPr marL="0" indent="0">
              <a:spcBef>
                <a:spcPts val="0"/>
              </a:spcBef>
              <a:spcAft>
                <a:spcPts val="0"/>
              </a:spcAft>
              <a:buNone/>
              <a:defRPr b="1">
                <a:solidFill>
                  <a:schemeClr val="accent1"/>
                </a:solidFill>
              </a:defRPr>
            </a:lvl7pPr>
            <a:lvl8pPr marL="0" indent="0">
              <a:spcBef>
                <a:spcPts val="0"/>
              </a:spcBef>
              <a:spcAft>
                <a:spcPts val="0"/>
              </a:spcAft>
              <a:buNone/>
              <a:defRPr b="1">
                <a:solidFill>
                  <a:schemeClr val="accent1"/>
                </a:solidFill>
              </a:defRPr>
            </a:lvl8pPr>
            <a:lvl9pPr marL="0" indent="0">
              <a:spcBef>
                <a:spcPts val="0"/>
              </a:spcBef>
              <a:spcAft>
                <a:spcPts val="0"/>
              </a:spcAft>
              <a:buNone/>
              <a:defRPr b="1">
                <a:solidFill>
                  <a:schemeClr val="accent1"/>
                </a:solidFill>
              </a:defRPr>
            </a:lvl9pPr>
          </a:lstStyle>
          <a:p>
            <a:pPr lvl="0"/>
            <a:r>
              <a:rPr lang="en-US"/>
              <a:t>Click to add text</a:t>
            </a:r>
          </a:p>
        </p:txBody>
      </p:sp>
      <p:sp>
        <p:nvSpPr>
          <p:cNvPr id="9" name="Textplatzhalter 5">
            <a:extLst>
              <a:ext uri="{FF2B5EF4-FFF2-40B4-BE49-F238E27FC236}">
                <a16:creationId xmlns:a16="http://schemas.microsoft.com/office/drawing/2014/main" id="{9BD094E2-F03F-40BE-8EF7-8E556560868A}"/>
              </a:ext>
            </a:extLst>
          </p:cNvPr>
          <p:cNvSpPr>
            <a:spLocks noGrp="1"/>
          </p:cNvSpPr>
          <p:nvPr>
            <p:ph type="body" sz="quarter" idx="16" hasCustomPrompt="1"/>
          </p:nvPr>
        </p:nvSpPr>
        <p:spPr bwMode="gray">
          <a:xfrm>
            <a:off x="9264352" y="1556842"/>
            <a:ext cx="2520000" cy="252000"/>
          </a:xfrm>
        </p:spPr>
        <p:txBody>
          <a:bodyPr/>
          <a:lstStyle>
            <a:lvl1pPr marL="0" indent="0">
              <a:spcBef>
                <a:spcPts val="0"/>
              </a:spcBef>
              <a:spcAft>
                <a:spcPts val="0"/>
              </a:spcAft>
              <a:buFont typeface="Arial" panose="020B0604020202020204" pitchFamily="34" charset="0"/>
              <a:buNone/>
              <a:defRPr b="1">
                <a:solidFill>
                  <a:schemeClr val="accent1"/>
                </a:solidFill>
              </a:defRPr>
            </a:lvl1pPr>
            <a:lvl2pPr marL="0" indent="0">
              <a:spcBef>
                <a:spcPts val="0"/>
              </a:spcBef>
              <a:spcAft>
                <a:spcPts val="0"/>
              </a:spcAft>
              <a:buFont typeface="Arial" panose="020B0604020202020204" pitchFamily="34" charset="0"/>
              <a:buNone/>
              <a:defRPr b="1">
                <a:solidFill>
                  <a:schemeClr val="accent1"/>
                </a:solidFill>
              </a:defRPr>
            </a:lvl2pPr>
            <a:lvl3pPr marL="0" indent="0">
              <a:spcBef>
                <a:spcPts val="0"/>
              </a:spcBef>
              <a:spcAft>
                <a:spcPts val="0"/>
              </a:spcAft>
              <a:buNone/>
              <a:defRPr b="1">
                <a:solidFill>
                  <a:schemeClr val="accent1"/>
                </a:solidFill>
              </a:defRPr>
            </a:lvl3pPr>
            <a:lvl4pPr marL="0" indent="0">
              <a:spcBef>
                <a:spcPts val="0"/>
              </a:spcBef>
              <a:spcAft>
                <a:spcPts val="0"/>
              </a:spcAft>
              <a:buNone/>
              <a:defRPr b="1">
                <a:solidFill>
                  <a:schemeClr val="accent1"/>
                </a:solidFill>
              </a:defRPr>
            </a:lvl4pPr>
            <a:lvl5pPr marL="0" indent="0">
              <a:spcBef>
                <a:spcPts val="0"/>
              </a:spcBef>
              <a:spcAft>
                <a:spcPts val="0"/>
              </a:spcAft>
              <a:buNone/>
              <a:defRPr b="1">
                <a:solidFill>
                  <a:schemeClr val="accent1"/>
                </a:solidFill>
              </a:defRPr>
            </a:lvl5pPr>
            <a:lvl6pPr marL="0" indent="0">
              <a:spcBef>
                <a:spcPts val="0"/>
              </a:spcBef>
              <a:spcAft>
                <a:spcPts val="0"/>
              </a:spcAft>
              <a:buNone/>
              <a:defRPr b="1">
                <a:solidFill>
                  <a:schemeClr val="accent1"/>
                </a:solidFill>
              </a:defRPr>
            </a:lvl6pPr>
            <a:lvl7pPr marL="0" indent="0">
              <a:spcBef>
                <a:spcPts val="0"/>
              </a:spcBef>
              <a:spcAft>
                <a:spcPts val="0"/>
              </a:spcAft>
              <a:buNone/>
              <a:defRPr b="1">
                <a:solidFill>
                  <a:schemeClr val="accent1"/>
                </a:solidFill>
              </a:defRPr>
            </a:lvl7pPr>
            <a:lvl8pPr marL="0" indent="0">
              <a:spcBef>
                <a:spcPts val="0"/>
              </a:spcBef>
              <a:spcAft>
                <a:spcPts val="0"/>
              </a:spcAft>
              <a:buNone/>
              <a:defRPr b="1">
                <a:solidFill>
                  <a:schemeClr val="accent1"/>
                </a:solidFill>
              </a:defRPr>
            </a:lvl8pPr>
            <a:lvl9pPr marL="0" indent="0">
              <a:spcBef>
                <a:spcPts val="0"/>
              </a:spcBef>
              <a:spcAft>
                <a:spcPts val="0"/>
              </a:spcAft>
              <a:buNone/>
              <a:defRPr b="1">
                <a:solidFill>
                  <a:schemeClr val="accent1"/>
                </a:solidFill>
              </a:defRPr>
            </a:lvl9pPr>
          </a:lstStyle>
          <a:p>
            <a:pPr lvl="0"/>
            <a:r>
              <a:rPr lang="en-US"/>
              <a:t>Click to add text</a:t>
            </a:r>
          </a:p>
        </p:txBody>
      </p:sp>
      <p:sp>
        <p:nvSpPr>
          <p:cNvPr id="12" name="Bildplatzhalter 26">
            <a:extLst>
              <a:ext uri="{FF2B5EF4-FFF2-40B4-BE49-F238E27FC236}">
                <a16:creationId xmlns:a16="http://schemas.microsoft.com/office/drawing/2014/main" id="{4DB6DD23-E28B-4597-9B27-EDCE4BCF6E62}"/>
              </a:ext>
            </a:extLst>
          </p:cNvPr>
          <p:cNvSpPr>
            <a:spLocks noGrp="1"/>
          </p:cNvSpPr>
          <p:nvPr>
            <p:ph type="pic" sz="quarter" idx="19" hasCustomPrompt="1"/>
          </p:nvPr>
        </p:nvSpPr>
        <p:spPr bwMode="gray">
          <a:xfrm>
            <a:off x="6312024" y="1916832"/>
            <a:ext cx="2520000" cy="3816000"/>
          </a:xfrm>
          <a:solidFill>
            <a:schemeClr val="accent3"/>
          </a:solidFill>
          <a:ln>
            <a:noFill/>
          </a:ln>
        </p:spPr>
        <p:txBody>
          <a:bodyPr tIns="1512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3" name="Bildplatzhalter 26">
            <a:extLst>
              <a:ext uri="{FF2B5EF4-FFF2-40B4-BE49-F238E27FC236}">
                <a16:creationId xmlns:a16="http://schemas.microsoft.com/office/drawing/2014/main" id="{A6B66F25-9D52-43E2-AF39-4E1E286800AD}"/>
              </a:ext>
            </a:extLst>
          </p:cNvPr>
          <p:cNvSpPr>
            <a:spLocks noGrp="1"/>
          </p:cNvSpPr>
          <p:nvPr>
            <p:ph type="pic" sz="quarter" idx="20" hasCustomPrompt="1"/>
          </p:nvPr>
        </p:nvSpPr>
        <p:spPr bwMode="gray">
          <a:xfrm>
            <a:off x="9264352" y="1916832"/>
            <a:ext cx="2520000" cy="3816000"/>
          </a:xfrm>
          <a:solidFill>
            <a:schemeClr val="accent3"/>
          </a:solidFill>
          <a:ln>
            <a:noFill/>
          </a:ln>
        </p:spPr>
        <p:txBody>
          <a:bodyPr tIns="1512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5" name="Textplatzhalter 14">
            <a:extLst>
              <a:ext uri="{FF2B5EF4-FFF2-40B4-BE49-F238E27FC236}">
                <a16:creationId xmlns:a16="http://schemas.microsoft.com/office/drawing/2014/main" id="{C012DBBC-F9AF-425B-A867-37AEB93EBF40}"/>
              </a:ext>
            </a:extLst>
          </p:cNvPr>
          <p:cNvSpPr>
            <a:spLocks noGrp="1"/>
          </p:cNvSpPr>
          <p:nvPr>
            <p:ph type="body" sz="quarter" idx="21" hasCustomPrompt="1"/>
          </p:nvPr>
        </p:nvSpPr>
        <p:spPr bwMode="gray">
          <a:xfrm>
            <a:off x="407988" y="5877328"/>
            <a:ext cx="2519362" cy="504000"/>
          </a:xfrm>
        </p:spPr>
        <p:txBody>
          <a:bodyPr tIns="72000" bIns="72000"/>
          <a:lstStyle>
            <a:lvl1pPr marL="0" indent="0">
              <a:spcBef>
                <a:spcPts val="0"/>
              </a:spcBef>
              <a:spcAft>
                <a:spcPts val="0"/>
              </a:spcAft>
              <a:buFont typeface="Arial" panose="020B0604020202020204" pitchFamily="34" charset="0"/>
              <a:buNone/>
              <a:defRPr b="0">
                <a:solidFill>
                  <a:schemeClr val="tx1"/>
                </a:solidFill>
              </a:defRPr>
            </a:lvl1pPr>
            <a:lvl2pPr marL="0" indent="0">
              <a:spcBef>
                <a:spcPts val="0"/>
              </a:spcBef>
              <a:spcAft>
                <a:spcPts val="0"/>
              </a:spcAft>
              <a:buFont typeface="Arial" panose="020B0604020202020204" pitchFamily="34" charset="0"/>
              <a:buNone/>
              <a:defRPr b="0">
                <a:solidFill>
                  <a:schemeClr val="tx1"/>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vl6pPr marL="0" indent="0">
              <a:spcBef>
                <a:spcPts val="0"/>
              </a:spcBef>
              <a:spcAft>
                <a:spcPts val="0"/>
              </a:spcAft>
              <a:buNone/>
              <a:defRPr b="0">
                <a:solidFill>
                  <a:schemeClr val="tx1"/>
                </a:solidFill>
              </a:defRPr>
            </a:lvl6pPr>
            <a:lvl7pPr marL="0" indent="0">
              <a:spcBef>
                <a:spcPts val="0"/>
              </a:spcBef>
              <a:spcAft>
                <a:spcPts val="0"/>
              </a:spcAft>
              <a:buNone/>
              <a:defRPr b="0">
                <a:solidFill>
                  <a:schemeClr val="tx1"/>
                </a:solidFill>
              </a:defRPr>
            </a:lvl7pPr>
            <a:lvl8pPr marL="0" indent="0">
              <a:spcBef>
                <a:spcPts val="0"/>
              </a:spcBef>
              <a:spcAft>
                <a:spcPts val="0"/>
              </a:spcAft>
              <a:buNone/>
              <a:defRPr b="0">
                <a:solidFill>
                  <a:schemeClr val="tx1"/>
                </a:solidFill>
              </a:defRPr>
            </a:lvl8pPr>
            <a:lvl9pPr marL="0" indent="0">
              <a:spcBef>
                <a:spcPts val="0"/>
              </a:spcBef>
              <a:spcAft>
                <a:spcPts val="0"/>
              </a:spcAft>
              <a:buNone/>
              <a:defRPr b="0">
                <a:solidFill>
                  <a:schemeClr val="tx1"/>
                </a:solidFill>
              </a:defRPr>
            </a:lvl9pPr>
          </a:lstStyle>
          <a:p>
            <a:pPr lvl="0"/>
            <a:r>
              <a:rPr lang="en-US"/>
              <a:t>Click to add text</a:t>
            </a:r>
          </a:p>
        </p:txBody>
      </p:sp>
      <p:sp>
        <p:nvSpPr>
          <p:cNvPr id="16" name="Textplatzhalter 14">
            <a:extLst>
              <a:ext uri="{FF2B5EF4-FFF2-40B4-BE49-F238E27FC236}">
                <a16:creationId xmlns:a16="http://schemas.microsoft.com/office/drawing/2014/main" id="{6E542819-D87A-4D0A-A80A-E983D9FF321C}"/>
              </a:ext>
            </a:extLst>
          </p:cNvPr>
          <p:cNvSpPr>
            <a:spLocks noGrp="1"/>
          </p:cNvSpPr>
          <p:nvPr>
            <p:ph type="body" sz="quarter" idx="22" hasCustomPrompt="1"/>
          </p:nvPr>
        </p:nvSpPr>
        <p:spPr bwMode="gray">
          <a:xfrm>
            <a:off x="3360614" y="5877328"/>
            <a:ext cx="2519362" cy="504000"/>
          </a:xfrm>
        </p:spPr>
        <p:txBody>
          <a:bodyPr tIns="72000" bIns="72000"/>
          <a:lstStyle>
            <a:lvl1pPr marL="0" indent="0">
              <a:spcBef>
                <a:spcPts val="0"/>
              </a:spcBef>
              <a:spcAft>
                <a:spcPts val="0"/>
              </a:spcAft>
              <a:buFont typeface="Arial" panose="020B0604020202020204" pitchFamily="34" charset="0"/>
              <a:buNone/>
              <a:defRPr b="0">
                <a:solidFill>
                  <a:schemeClr val="tx1"/>
                </a:solidFill>
              </a:defRPr>
            </a:lvl1pPr>
            <a:lvl2pPr marL="0" indent="0">
              <a:spcBef>
                <a:spcPts val="0"/>
              </a:spcBef>
              <a:spcAft>
                <a:spcPts val="0"/>
              </a:spcAft>
              <a:buFont typeface="Arial" panose="020B0604020202020204" pitchFamily="34" charset="0"/>
              <a:buNone/>
              <a:defRPr b="0">
                <a:solidFill>
                  <a:schemeClr val="tx1"/>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vl6pPr marL="0" indent="0">
              <a:spcBef>
                <a:spcPts val="0"/>
              </a:spcBef>
              <a:spcAft>
                <a:spcPts val="0"/>
              </a:spcAft>
              <a:buNone/>
              <a:defRPr b="0">
                <a:solidFill>
                  <a:schemeClr val="tx1"/>
                </a:solidFill>
              </a:defRPr>
            </a:lvl6pPr>
            <a:lvl7pPr marL="0" indent="0">
              <a:spcBef>
                <a:spcPts val="0"/>
              </a:spcBef>
              <a:spcAft>
                <a:spcPts val="0"/>
              </a:spcAft>
              <a:buNone/>
              <a:defRPr b="0">
                <a:solidFill>
                  <a:schemeClr val="tx1"/>
                </a:solidFill>
              </a:defRPr>
            </a:lvl7pPr>
            <a:lvl8pPr marL="0" indent="0">
              <a:spcBef>
                <a:spcPts val="0"/>
              </a:spcBef>
              <a:spcAft>
                <a:spcPts val="0"/>
              </a:spcAft>
              <a:buNone/>
              <a:defRPr b="0">
                <a:solidFill>
                  <a:schemeClr val="tx1"/>
                </a:solidFill>
              </a:defRPr>
            </a:lvl8pPr>
            <a:lvl9pPr marL="0" indent="0">
              <a:spcBef>
                <a:spcPts val="0"/>
              </a:spcBef>
              <a:spcAft>
                <a:spcPts val="0"/>
              </a:spcAft>
              <a:buNone/>
              <a:defRPr b="0">
                <a:solidFill>
                  <a:schemeClr val="tx1"/>
                </a:solidFill>
              </a:defRPr>
            </a:lvl9pPr>
          </a:lstStyle>
          <a:p>
            <a:pPr lvl="0"/>
            <a:r>
              <a:rPr lang="en-US"/>
              <a:t>Click to add text</a:t>
            </a:r>
          </a:p>
        </p:txBody>
      </p:sp>
      <p:sp>
        <p:nvSpPr>
          <p:cNvPr id="17" name="Textplatzhalter 14">
            <a:extLst>
              <a:ext uri="{FF2B5EF4-FFF2-40B4-BE49-F238E27FC236}">
                <a16:creationId xmlns:a16="http://schemas.microsoft.com/office/drawing/2014/main" id="{F833D9DD-2421-478F-AC5B-9B9F018D5A33}"/>
              </a:ext>
            </a:extLst>
          </p:cNvPr>
          <p:cNvSpPr>
            <a:spLocks noGrp="1"/>
          </p:cNvSpPr>
          <p:nvPr>
            <p:ph type="body" sz="quarter" idx="23" hasCustomPrompt="1"/>
          </p:nvPr>
        </p:nvSpPr>
        <p:spPr bwMode="gray">
          <a:xfrm>
            <a:off x="6312942" y="5877328"/>
            <a:ext cx="2519362" cy="504000"/>
          </a:xfrm>
        </p:spPr>
        <p:txBody>
          <a:bodyPr tIns="72000" bIns="72000"/>
          <a:lstStyle>
            <a:lvl1pPr marL="0" indent="0">
              <a:spcBef>
                <a:spcPts val="0"/>
              </a:spcBef>
              <a:spcAft>
                <a:spcPts val="0"/>
              </a:spcAft>
              <a:buFont typeface="Arial" panose="020B0604020202020204" pitchFamily="34" charset="0"/>
              <a:buNone/>
              <a:defRPr b="0">
                <a:solidFill>
                  <a:schemeClr val="tx1"/>
                </a:solidFill>
              </a:defRPr>
            </a:lvl1pPr>
            <a:lvl2pPr marL="0" indent="0">
              <a:spcBef>
                <a:spcPts val="0"/>
              </a:spcBef>
              <a:spcAft>
                <a:spcPts val="0"/>
              </a:spcAft>
              <a:buFont typeface="Arial" panose="020B0604020202020204" pitchFamily="34" charset="0"/>
              <a:buNone/>
              <a:defRPr b="0">
                <a:solidFill>
                  <a:schemeClr val="tx1"/>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vl6pPr marL="0" indent="0">
              <a:spcBef>
                <a:spcPts val="0"/>
              </a:spcBef>
              <a:spcAft>
                <a:spcPts val="0"/>
              </a:spcAft>
              <a:buNone/>
              <a:defRPr b="0">
                <a:solidFill>
                  <a:schemeClr val="tx1"/>
                </a:solidFill>
              </a:defRPr>
            </a:lvl6pPr>
            <a:lvl7pPr marL="0" indent="0">
              <a:spcBef>
                <a:spcPts val="0"/>
              </a:spcBef>
              <a:spcAft>
                <a:spcPts val="0"/>
              </a:spcAft>
              <a:buNone/>
              <a:defRPr b="0">
                <a:solidFill>
                  <a:schemeClr val="tx1"/>
                </a:solidFill>
              </a:defRPr>
            </a:lvl7pPr>
            <a:lvl8pPr marL="0" indent="0">
              <a:spcBef>
                <a:spcPts val="0"/>
              </a:spcBef>
              <a:spcAft>
                <a:spcPts val="0"/>
              </a:spcAft>
              <a:buNone/>
              <a:defRPr b="0">
                <a:solidFill>
                  <a:schemeClr val="tx1"/>
                </a:solidFill>
              </a:defRPr>
            </a:lvl8pPr>
            <a:lvl9pPr marL="0" indent="0">
              <a:spcBef>
                <a:spcPts val="0"/>
              </a:spcBef>
              <a:spcAft>
                <a:spcPts val="0"/>
              </a:spcAft>
              <a:buNone/>
              <a:defRPr b="0">
                <a:solidFill>
                  <a:schemeClr val="tx1"/>
                </a:solidFill>
              </a:defRPr>
            </a:lvl9pPr>
          </a:lstStyle>
          <a:p>
            <a:pPr lvl="0"/>
            <a:r>
              <a:rPr lang="en-US"/>
              <a:t>Click to add text</a:t>
            </a:r>
          </a:p>
        </p:txBody>
      </p:sp>
      <p:sp>
        <p:nvSpPr>
          <p:cNvPr id="18" name="Textplatzhalter 14">
            <a:extLst>
              <a:ext uri="{FF2B5EF4-FFF2-40B4-BE49-F238E27FC236}">
                <a16:creationId xmlns:a16="http://schemas.microsoft.com/office/drawing/2014/main" id="{EDF3B7C0-C764-4A7C-B8ED-7E1E282C7A58}"/>
              </a:ext>
            </a:extLst>
          </p:cNvPr>
          <p:cNvSpPr>
            <a:spLocks noGrp="1"/>
          </p:cNvSpPr>
          <p:nvPr>
            <p:ph type="body" sz="quarter" idx="24" hasCustomPrompt="1"/>
          </p:nvPr>
        </p:nvSpPr>
        <p:spPr bwMode="gray">
          <a:xfrm>
            <a:off x="9265270" y="5877328"/>
            <a:ext cx="2519362" cy="504000"/>
          </a:xfrm>
        </p:spPr>
        <p:txBody>
          <a:bodyPr tIns="72000" bIns="72000"/>
          <a:lstStyle>
            <a:lvl1pPr marL="0" indent="0">
              <a:spcBef>
                <a:spcPts val="0"/>
              </a:spcBef>
              <a:spcAft>
                <a:spcPts val="0"/>
              </a:spcAft>
              <a:buFont typeface="Arial" panose="020B0604020202020204" pitchFamily="34" charset="0"/>
              <a:buNone/>
              <a:defRPr b="0">
                <a:solidFill>
                  <a:schemeClr val="tx1"/>
                </a:solidFill>
              </a:defRPr>
            </a:lvl1pPr>
            <a:lvl2pPr marL="0" indent="0">
              <a:spcBef>
                <a:spcPts val="0"/>
              </a:spcBef>
              <a:spcAft>
                <a:spcPts val="0"/>
              </a:spcAft>
              <a:buFont typeface="Arial" panose="020B0604020202020204" pitchFamily="34" charset="0"/>
              <a:buNone/>
              <a:defRPr b="0">
                <a:solidFill>
                  <a:schemeClr val="tx1"/>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vl6pPr marL="0" indent="0">
              <a:spcBef>
                <a:spcPts val="0"/>
              </a:spcBef>
              <a:spcAft>
                <a:spcPts val="0"/>
              </a:spcAft>
              <a:buNone/>
              <a:defRPr b="0">
                <a:solidFill>
                  <a:schemeClr val="tx1"/>
                </a:solidFill>
              </a:defRPr>
            </a:lvl6pPr>
            <a:lvl7pPr marL="0" indent="0">
              <a:spcBef>
                <a:spcPts val="0"/>
              </a:spcBef>
              <a:spcAft>
                <a:spcPts val="0"/>
              </a:spcAft>
              <a:buNone/>
              <a:defRPr b="0">
                <a:solidFill>
                  <a:schemeClr val="tx1"/>
                </a:solidFill>
              </a:defRPr>
            </a:lvl7pPr>
            <a:lvl8pPr marL="0" indent="0">
              <a:spcBef>
                <a:spcPts val="0"/>
              </a:spcBef>
              <a:spcAft>
                <a:spcPts val="0"/>
              </a:spcAft>
              <a:buNone/>
              <a:defRPr b="0">
                <a:solidFill>
                  <a:schemeClr val="tx1"/>
                </a:solidFill>
              </a:defRPr>
            </a:lvl8pPr>
            <a:lvl9pPr marL="0" indent="0">
              <a:spcBef>
                <a:spcPts val="0"/>
              </a:spcBef>
              <a:spcAft>
                <a:spcPts val="0"/>
              </a:spcAft>
              <a:buNone/>
              <a:defRPr b="0">
                <a:solidFill>
                  <a:schemeClr val="tx1"/>
                </a:solidFill>
              </a:defRPr>
            </a:lvl9pPr>
          </a:lstStyle>
          <a:p>
            <a:pPr lvl="0"/>
            <a:r>
              <a:rPr lang="en-US"/>
              <a:t>Click to add text</a:t>
            </a:r>
          </a:p>
        </p:txBody>
      </p:sp>
      <p:sp>
        <p:nvSpPr>
          <p:cNvPr id="45" name="Textplatzhalter 44">
            <a:extLst>
              <a:ext uri="{FF2B5EF4-FFF2-40B4-BE49-F238E27FC236}">
                <a16:creationId xmlns:a16="http://schemas.microsoft.com/office/drawing/2014/main" id="{36E77832-2C3A-466B-AA69-DFE3AB59F233}"/>
              </a:ext>
            </a:extLst>
          </p:cNvPr>
          <p:cNvSpPr>
            <a:spLocks noGrp="1"/>
          </p:cNvSpPr>
          <p:nvPr>
            <p:ph type="body" sz="quarter" idx="41" hasCustomPrompt="1"/>
          </p:nvPr>
        </p:nvSpPr>
        <p:spPr bwMode="gray">
          <a:xfrm flipV="1">
            <a:off x="407368" y="5121256"/>
            <a:ext cx="2519362" cy="612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0 h 906016"/>
            </a:gdLst>
            <a:ahLst/>
            <a:cxnLst>
              <a:cxn ang="0">
                <a:pos x="connsiteX0" y="connsiteY0"/>
              </a:cxn>
              <a:cxn ang="0">
                <a:pos x="connsiteX1" y="connsiteY1"/>
              </a:cxn>
              <a:cxn ang="0">
                <a:pos x="connsiteX2" y="connsiteY2"/>
              </a:cxn>
              <a:cxn ang="0">
                <a:pos x="connsiteX3" y="connsiteY3"/>
              </a:cxn>
            </a:cxnLst>
            <a:rect l="l" t="t" r="r" b="b"/>
            <a:pathLst>
              <a:path w="2519362" h="906016">
                <a:moveTo>
                  <a:pt x="0" y="0"/>
                </a:moveTo>
                <a:lnTo>
                  <a:pt x="2519362" y="0"/>
                </a:lnTo>
                <a:lnTo>
                  <a:pt x="2519362" y="906016"/>
                </a:lnTo>
                <a:lnTo>
                  <a:pt x="0" y="0"/>
                </a:lnTo>
                <a:close/>
              </a:path>
            </a:pathLst>
          </a:custGeom>
          <a:solidFill>
            <a:schemeClr val="accent1">
              <a:alpha val="80000"/>
            </a:schemeClr>
          </a:solidFill>
        </p:spPr>
        <p:txBody>
          <a:bodyPr wrap="square">
            <a:noAutofit/>
          </a:bodyPr>
          <a:lstStyle>
            <a:lvl1pPr>
              <a:defRPr/>
            </a:lvl1pPr>
          </a:lstStyle>
          <a:p>
            <a:pPr lvl="0"/>
            <a:r>
              <a:rPr lang="en-US"/>
              <a:t> </a:t>
            </a:r>
          </a:p>
        </p:txBody>
      </p:sp>
      <p:sp>
        <p:nvSpPr>
          <p:cNvPr id="46" name="Textplatzhalter 39">
            <a:extLst>
              <a:ext uri="{FF2B5EF4-FFF2-40B4-BE49-F238E27FC236}">
                <a16:creationId xmlns:a16="http://schemas.microsoft.com/office/drawing/2014/main" id="{F6D7A7B3-C3D8-432D-95A2-AD721D684F3E}"/>
              </a:ext>
            </a:extLst>
          </p:cNvPr>
          <p:cNvSpPr>
            <a:spLocks noGrp="1"/>
          </p:cNvSpPr>
          <p:nvPr>
            <p:ph type="body" sz="quarter" idx="42" hasCustomPrompt="1"/>
          </p:nvPr>
        </p:nvSpPr>
        <p:spPr bwMode="gray">
          <a:xfrm>
            <a:off x="6312942" y="4833256"/>
            <a:ext cx="2519362" cy="900000"/>
          </a:xfrm>
          <a:solidFill>
            <a:schemeClr val="accent1">
              <a:alpha val="20000"/>
            </a:schemeClr>
          </a:solidFill>
        </p:spPr>
        <p:txBody>
          <a:bodyPr/>
          <a:lstStyle>
            <a:lvl1pPr>
              <a:defRPr/>
            </a:lvl1pPr>
          </a:lstStyle>
          <a:p>
            <a:pPr lvl="0"/>
            <a:r>
              <a:rPr lang="en-US"/>
              <a:t> </a:t>
            </a:r>
          </a:p>
        </p:txBody>
      </p:sp>
      <p:sp>
        <p:nvSpPr>
          <p:cNvPr id="47" name="Textplatzhalter 46">
            <a:extLst>
              <a:ext uri="{FF2B5EF4-FFF2-40B4-BE49-F238E27FC236}">
                <a16:creationId xmlns:a16="http://schemas.microsoft.com/office/drawing/2014/main" id="{239869B4-45FD-46B7-A39D-E372F7783A10}"/>
              </a:ext>
            </a:extLst>
          </p:cNvPr>
          <p:cNvSpPr>
            <a:spLocks noGrp="1"/>
          </p:cNvSpPr>
          <p:nvPr>
            <p:ph type="body" sz="quarter" idx="43" hasCustomPrompt="1"/>
          </p:nvPr>
        </p:nvSpPr>
        <p:spPr bwMode="gray">
          <a:xfrm flipV="1">
            <a:off x="6312322" y="4833256"/>
            <a:ext cx="2519362" cy="900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362" h="906016">
                <a:moveTo>
                  <a:pt x="0" y="0"/>
                </a:moveTo>
                <a:lnTo>
                  <a:pt x="2519362" y="0"/>
                </a:lnTo>
                <a:lnTo>
                  <a:pt x="2519362" y="906016"/>
                </a:lnTo>
                <a:lnTo>
                  <a:pt x="0" y="617043"/>
                </a:lnTo>
                <a:lnTo>
                  <a:pt x="0" y="0"/>
                </a:lnTo>
                <a:close/>
              </a:path>
            </a:pathLst>
          </a:custGeom>
          <a:solidFill>
            <a:schemeClr val="accent1">
              <a:alpha val="40000"/>
            </a:schemeClr>
          </a:solidFill>
        </p:spPr>
        <p:txBody>
          <a:bodyPr wrap="square">
            <a:noAutofit/>
          </a:bodyPr>
          <a:lstStyle>
            <a:lvl1pPr>
              <a:defRPr/>
            </a:lvl1pPr>
          </a:lstStyle>
          <a:p>
            <a:pPr lvl="0"/>
            <a:r>
              <a:rPr lang="en-US"/>
              <a:t> </a:t>
            </a:r>
          </a:p>
        </p:txBody>
      </p:sp>
      <p:sp>
        <p:nvSpPr>
          <p:cNvPr id="48" name="Textplatzhalter 39">
            <a:extLst>
              <a:ext uri="{FF2B5EF4-FFF2-40B4-BE49-F238E27FC236}">
                <a16:creationId xmlns:a16="http://schemas.microsoft.com/office/drawing/2014/main" id="{4657C7FC-BAAD-473E-B542-0A5A8B8A503B}"/>
              </a:ext>
            </a:extLst>
          </p:cNvPr>
          <p:cNvSpPr>
            <a:spLocks noGrp="1"/>
          </p:cNvSpPr>
          <p:nvPr>
            <p:ph type="body" sz="quarter" idx="44" hasCustomPrompt="1"/>
          </p:nvPr>
        </p:nvSpPr>
        <p:spPr bwMode="gray">
          <a:xfrm>
            <a:off x="6312322" y="5121256"/>
            <a:ext cx="2519362" cy="612000"/>
          </a:xfrm>
          <a:solidFill>
            <a:schemeClr val="accent1">
              <a:alpha val="60000"/>
            </a:schemeClr>
          </a:solidFill>
        </p:spPr>
        <p:txBody>
          <a:bodyPr/>
          <a:lstStyle>
            <a:lvl1pPr>
              <a:defRPr/>
            </a:lvl1pPr>
          </a:lstStyle>
          <a:p>
            <a:pPr lvl="0"/>
            <a:r>
              <a:rPr lang="en-US"/>
              <a:t> </a:t>
            </a:r>
          </a:p>
        </p:txBody>
      </p:sp>
      <p:sp>
        <p:nvSpPr>
          <p:cNvPr id="49" name="Textplatzhalter 48">
            <a:extLst>
              <a:ext uri="{FF2B5EF4-FFF2-40B4-BE49-F238E27FC236}">
                <a16:creationId xmlns:a16="http://schemas.microsoft.com/office/drawing/2014/main" id="{15A6F36B-DA08-48A6-8466-CDE4F6853538}"/>
              </a:ext>
            </a:extLst>
          </p:cNvPr>
          <p:cNvSpPr>
            <a:spLocks noGrp="1"/>
          </p:cNvSpPr>
          <p:nvPr>
            <p:ph type="body" sz="quarter" idx="45" hasCustomPrompt="1"/>
          </p:nvPr>
        </p:nvSpPr>
        <p:spPr bwMode="gray">
          <a:xfrm flipV="1">
            <a:off x="6312322" y="5121256"/>
            <a:ext cx="2519362" cy="612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0 h 906016"/>
            </a:gdLst>
            <a:ahLst/>
            <a:cxnLst>
              <a:cxn ang="0">
                <a:pos x="connsiteX0" y="connsiteY0"/>
              </a:cxn>
              <a:cxn ang="0">
                <a:pos x="connsiteX1" y="connsiteY1"/>
              </a:cxn>
              <a:cxn ang="0">
                <a:pos x="connsiteX2" y="connsiteY2"/>
              </a:cxn>
              <a:cxn ang="0">
                <a:pos x="connsiteX3" y="connsiteY3"/>
              </a:cxn>
            </a:cxnLst>
            <a:rect l="l" t="t" r="r" b="b"/>
            <a:pathLst>
              <a:path w="2519362" h="906016">
                <a:moveTo>
                  <a:pt x="0" y="0"/>
                </a:moveTo>
                <a:lnTo>
                  <a:pt x="2519362" y="0"/>
                </a:lnTo>
                <a:lnTo>
                  <a:pt x="2519362" y="906016"/>
                </a:lnTo>
                <a:lnTo>
                  <a:pt x="0" y="0"/>
                </a:lnTo>
                <a:close/>
              </a:path>
            </a:pathLst>
          </a:custGeom>
          <a:solidFill>
            <a:schemeClr val="accent1">
              <a:alpha val="80000"/>
            </a:schemeClr>
          </a:solidFill>
        </p:spPr>
        <p:txBody>
          <a:bodyPr wrap="square">
            <a:noAutofit/>
          </a:bodyPr>
          <a:lstStyle>
            <a:lvl1pPr>
              <a:defRPr/>
            </a:lvl1pPr>
          </a:lstStyle>
          <a:p>
            <a:pPr lvl="0"/>
            <a:r>
              <a:rPr lang="en-US"/>
              <a:t> </a:t>
            </a:r>
          </a:p>
        </p:txBody>
      </p:sp>
      <p:sp>
        <p:nvSpPr>
          <p:cNvPr id="50" name="Textplatzhalter 39">
            <a:extLst>
              <a:ext uri="{FF2B5EF4-FFF2-40B4-BE49-F238E27FC236}">
                <a16:creationId xmlns:a16="http://schemas.microsoft.com/office/drawing/2014/main" id="{CB2B1F47-0EF2-443D-A102-49F7BC129CFE}"/>
              </a:ext>
            </a:extLst>
          </p:cNvPr>
          <p:cNvSpPr>
            <a:spLocks noGrp="1"/>
          </p:cNvSpPr>
          <p:nvPr>
            <p:ph type="body" sz="quarter" idx="46" hasCustomPrompt="1"/>
          </p:nvPr>
        </p:nvSpPr>
        <p:spPr bwMode="gray">
          <a:xfrm>
            <a:off x="9265270" y="4833256"/>
            <a:ext cx="2519362" cy="900000"/>
          </a:xfrm>
          <a:solidFill>
            <a:schemeClr val="accent1">
              <a:alpha val="20000"/>
            </a:schemeClr>
          </a:solidFill>
        </p:spPr>
        <p:txBody>
          <a:bodyPr/>
          <a:lstStyle>
            <a:lvl1pPr>
              <a:defRPr/>
            </a:lvl1pPr>
          </a:lstStyle>
          <a:p>
            <a:pPr lvl="0"/>
            <a:r>
              <a:rPr lang="en-US"/>
              <a:t> </a:t>
            </a:r>
          </a:p>
        </p:txBody>
      </p:sp>
      <p:sp>
        <p:nvSpPr>
          <p:cNvPr id="51" name="Textplatzhalter 50">
            <a:extLst>
              <a:ext uri="{FF2B5EF4-FFF2-40B4-BE49-F238E27FC236}">
                <a16:creationId xmlns:a16="http://schemas.microsoft.com/office/drawing/2014/main" id="{B6DB3BA6-B6B6-4184-99BF-0814F24030C3}"/>
              </a:ext>
            </a:extLst>
          </p:cNvPr>
          <p:cNvSpPr>
            <a:spLocks noGrp="1"/>
          </p:cNvSpPr>
          <p:nvPr>
            <p:ph type="body" sz="quarter" idx="47" hasCustomPrompt="1"/>
          </p:nvPr>
        </p:nvSpPr>
        <p:spPr bwMode="gray">
          <a:xfrm flipV="1">
            <a:off x="9264650" y="4833256"/>
            <a:ext cx="2519362" cy="900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362" h="906016">
                <a:moveTo>
                  <a:pt x="0" y="0"/>
                </a:moveTo>
                <a:lnTo>
                  <a:pt x="2519362" y="0"/>
                </a:lnTo>
                <a:lnTo>
                  <a:pt x="2519362" y="906016"/>
                </a:lnTo>
                <a:lnTo>
                  <a:pt x="0" y="617043"/>
                </a:lnTo>
                <a:lnTo>
                  <a:pt x="0" y="0"/>
                </a:lnTo>
                <a:close/>
              </a:path>
            </a:pathLst>
          </a:custGeom>
          <a:solidFill>
            <a:schemeClr val="accent1">
              <a:alpha val="40000"/>
            </a:schemeClr>
          </a:solidFill>
        </p:spPr>
        <p:txBody>
          <a:bodyPr wrap="square">
            <a:noAutofit/>
          </a:bodyPr>
          <a:lstStyle>
            <a:lvl1pPr>
              <a:defRPr/>
            </a:lvl1pPr>
          </a:lstStyle>
          <a:p>
            <a:pPr lvl="0"/>
            <a:r>
              <a:rPr lang="en-US"/>
              <a:t> </a:t>
            </a:r>
          </a:p>
        </p:txBody>
      </p:sp>
      <p:sp>
        <p:nvSpPr>
          <p:cNvPr id="52" name="Textplatzhalter 39">
            <a:extLst>
              <a:ext uri="{FF2B5EF4-FFF2-40B4-BE49-F238E27FC236}">
                <a16:creationId xmlns:a16="http://schemas.microsoft.com/office/drawing/2014/main" id="{89BED1E2-0BC0-4F69-87EA-BA602682BF26}"/>
              </a:ext>
            </a:extLst>
          </p:cNvPr>
          <p:cNvSpPr>
            <a:spLocks noGrp="1"/>
          </p:cNvSpPr>
          <p:nvPr>
            <p:ph type="body" sz="quarter" idx="48" hasCustomPrompt="1"/>
          </p:nvPr>
        </p:nvSpPr>
        <p:spPr bwMode="gray">
          <a:xfrm>
            <a:off x="9264650" y="5121256"/>
            <a:ext cx="2519362" cy="612000"/>
          </a:xfrm>
          <a:solidFill>
            <a:schemeClr val="accent1">
              <a:alpha val="60000"/>
            </a:schemeClr>
          </a:solidFill>
        </p:spPr>
        <p:txBody>
          <a:bodyPr/>
          <a:lstStyle>
            <a:lvl1pPr>
              <a:defRPr/>
            </a:lvl1pPr>
          </a:lstStyle>
          <a:p>
            <a:pPr lvl="0"/>
            <a:r>
              <a:rPr lang="en-US"/>
              <a:t> </a:t>
            </a:r>
          </a:p>
        </p:txBody>
      </p:sp>
      <p:sp>
        <p:nvSpPr>
          <p:cNvPr id="53" name="Textplatzhalter 52">
            <a:extLst>
              <a:ext uri="{FF2B5EF4-FFF2-40B4-BE49-F238E27FC236}">
                <a16:creationId xmlns:a16="http://schemas.microsoft.com/office/drawing/2014/main" id="{4FC9D5AD-9F12-4FA8-B648-D730CCD5FCD9}"/>
              </a:ext>
            </a:extLst>
          </p:cNvPr>
          <p:cNvSpPr>
            <a:spLocks noGrp="1"/>
          </p:cNvSpPr>
          <p:nvPr>
            <p:ph type="body" sz="quarter" idx="49" hasCustomPrompt="1"/>
          </p:nvPr>
        </p:nvSpPr>
        <p:spPr bwMode="gray">
          <a:xfrm flipV="1">
            <a:off x="9264650" y="5121256"/>
            <a:ext cx="2519362" cy="612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0 h 906016"/>
            </a:gdLst>
            <a:ahLst/>
            <a:cxnLst>
              <a:cxn ang="0">
                <a:pos x="connsiteX0" y="connsiteY0"/>
              </a:cxn>
              <a:cxn ang="0">
                <a:pos x="connsiteX1" y="connsiteY1"/>
              </a:cxn>
              <a:cxn ang="0">
                <a:pos x="connsiteX2" y="connsiteY2"/>
              </a:cxn>
              <a:cxn ang="0">
                <a:pos x="connsiteX3" y="connsiteY3"/>
              </a:cxn>
            </a:cxnLst>
            <a:rect l="l" t="t" r="r" b="b"/>
            <a:pathLst>
              <a:path w="2519362" h="906016">
                <a:moveTo>
                  <a:pt x="0" y="0"/>
                </a:moveTo>
                <a:lnTo>
                  <a:pt x="2519362" y="0"/>
                </a:lnTo>
                <a:lnTo>
                  <a:pt x="2519362" y="906016"/>
                </a:lnTo>
                <a:lnTo>
                  <a:pt x="0" y="0"/>
                </a:lnTo>
                <a:close/>
              </a:path>
            </a:pathLst>
          </a:custGeom>
          <a:solidFill>
            <a:schemeClr val="accent1">
              <a:alpha val="80000"/>
            </a:schemeClr>
          </a:solidFill>
        </p:spPr>
        <p:txBody>
          <a:bodyPr wrap="square">
            <a:noAutofit/>
          </a:bodyPr>
          <a:lstStyle>
            <a:lvl1pPr>
              <a:defRPr/>
            </a:lvl1pPr>
          </a:lstStyle>
          <a:p>
            <a:pPr lvl="0"/>
            <a:r>
              <a:rPr lang="en-US"/>
              <a:t> </a:t>
            </a:r>
          </a:p>
        </p:txBody>
      </p:sp>
      <p:sp>
        <p:nvSpPr>
          <p:cNvPr id="3" name="Fußzeilenplatzhalter 2">
            <a:extLst>
              <a:ext uri="{FF2B5EF4-FFF2-40B4-BE49-F238E27FC236}">
                <a16:creationId xmlns:a16="http://schemas.microsoft.com/office/drawing/2014/main" id="{A693CA1F-A180-4A9B-B9D3-F05F94250644}"/>
              </a:ext>
            </a:extLst>
          </p:cNvPr>
          <p:cNvSpPr>
            <a:spLocks noGrp="1"/>
          </p:cNvSpPr>
          <p:nvPr>
            <p:ph type="ftr" sz="quarter" idx="54"/>
          </p:nvPr>
        </p:nvSpPr>
        <p:spPr bwMode="gray"/>
        <p:txBody>
          <a:bodyPr/>
          <a:lstStyle/>
          <a:p>
            <a:r>
              <a:rPr lang="en-GB"/>
              <a:t>BayWa r.e. AG Company Presentation 2024</a:t>
            </a:r>
            <a:endParaRPr lang="en-US"/>
          </a:p>
        </p:txBody>
      </p:sp>
      <p:sp>
        <p:nvSpPr>
          <p:cNvPr id="35" name="Bildplatzhalter 26">
            <a:extLst>
              <a:ext uri="{FF2B5EF4-FFF2-40B4-BE49-F238E27FC236}">
                <a16:creationId xmlns:a16="http://schemas.microsoft.com/office/drawing/2014/main" id="{8CDA74E2-F86B-4E98-AF69-E4E214908F7A}"/>
              </a:ext>
            </a:extLst>
          </p:cNvPr>
          <p:cNvSpPr>
            <a:spLocks noGrp="1"/>
          </p:cNvSpPr>
          <p:nvPr>
            <p:ph type="pic" sz="quarter" idx="55" hasCustomPrompt="1"/>
          </p:nvPr>
        </p:nvSpPr>
        <p:spPr bwMode="gray">
          <a:xfrm>
            <a:off x="3359976" y="1916832"/>
            <a:ext cx="2520000" cy="3816000"/>
          </a:xfrm>
          <a:solidFill>
            <a:schemeClr val="accent3"/>
          </a:solidFill>
          <a:ln>
            <a:noFill/>
          </a:ln>
        </p:spPr>
        <p:txBody>
          <a:bodyPr tIns="1512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36" name="Textplatzhalter 39">
            <a:extLst>
              <a:ext uri="{FF2B5EF4-FFF2-40B4-BE49-F238E27FC236}">
                <a16:creationId xmlns:a16="http://schemas.microsoft.com/office/drawing/2014/main" id="{8870A6F8-BB73-4495-84CD-D9DF431B884D}"/>
              </a:ext>
            </a:extLst>
          </p:cNvPr>
          <p:cNvSpPr>
            <a:spLocks noGrp="1"/>
          </p:cNvSpPr>
          <p:nvPr>
            <p:ph type="body" sz="quarter" idx="56" hasCustomPrompt="1"/>
          </p:nvPr>
        </p:nvSpPr>
        <p:spPr bwMode="gray">
          <a:xfrm>
            <a:off x="3360596" y="4833256"/>
            <a:ext cx="2519362" cy="900000"/>
          </a:xfrm>
          <a:solidFill>
            <a:schemeClr val="accent1">
              <a:alpha val="20000"/>
            </a:schemeClr>
          </a:solidFill>
        </p:spPr>
        <p:txBody>
          <a:bodyPr/>
          <a:lstStyle>
            <a:lvl1pPr>
              <a:defRPr/>
            </a:lvl1pPr>
          </a:lstStyle>
          <a:p>
            <a:pPr lvl="0"/>
            <a:r>
              <a:rPr lang="en-US"/>
              <a:t> </a:t>
            </a:r>
          </a:p>
        </p:txBody>
      </p:sp>
      <p:sp>
        <p:nvSpPr>
          <p:cNvPr id="37" name="Textplatzhalter 42">
            <a:extLst>
              <a:ext uri="{FF2B5EF4-FFF2-40B4-BE49-F238E27FC236}">
                <a16:creationId xmlns:a16="http://schemas.microsoft.com/office/drawing/2014/main" id="{47CE5F76-F853-46EE-B075-61422E3FA853}"/>
              </a:ext>
            </a:extLst>
          </p:cNvPr>
          <p:cNvSpPr>
            <a:spLocks noGrp="1"/>
          </p:cNvSpPr>
          <p:nvPr>
            <p:ph type="body" sz="quarter" idx="57" hasCustomPrompt="1"/>
          </p:nvPr>
        </p:nvSpPr>
        <p:spPr bwMode="gray">
          <a:xfrm flipV="1">
            <a:off x="3359976" y="4833256"/>
            <a:ext cx="2519362" cy="900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362" h="906016">
                <a:moveTo>
                  <a:pt x="0" y="0"/>
                </a:moveTo>
                <a:lnTo>
                  <a:pt x="2519362" y="0"/>
                </a:lnTo>
                <a:lnTo>
                  <a:pt x="2519362" y="906016"/>
                </a:lnTo>
                <a:lnTo>
                  <a:pt x="0" y="617043"/>
                </a:lnTo>
                <a:lnTo>
                  <a:pt x="0" y="0"/>
                </a:lnTo>
                <a:close/>
              </a:path>
            </a:pathLst>
          </a:custGeom>
          <a:solidFill>
            <a:schemeClr val="accent1">
              <a:alpha val="40000"/>
            </a:schemeClr>
          </a:solidFill>
        </p:spPr>
        <p:txBody>
          <a:bodyPr wrap="square">
            <a:noAutofit/>
          </a:bodyPr>
          <a:lstStyle>
            <a:lvl1pPr>
              <a:defRPr/>
            </a:lvl1pPr>
          </a:lstStyle>
          <a:p>
            <a:pPr lvl="0"/>
            <a:r>
              <a:rPr lang="en-US"/>
              <a:t> </a:t>
            </a:r>
          </a:p>
        </p:txBody>
      </p:sp>
      <p:sp>
        <p:nvSpPr>
          <p:cNvPr id="38" name="Textplatzhalter 39">
            <a:extLst>
              <a:ext uri="{FF2B5EF4-FFF2-40B4-BE49-F238E27FC236}">
                <a16:creationId xmlns:a16="http://schemas.microsoft.com/office/drawing/2014/main" id="{6F686B2A-5EFC-4BC2-B531-3E8CBCB66951}"/>
              </a:ext>
            </a:extLst>
          </p:cNvPr>
          <p:cNvSpPr>
            <a:spLocks noGrp="1"/>
          </p:cNvSpPr>
          <p:nvPr>
            <p:ph type="body" sz="quarter" idx="58" hasCustomPrompt="1"/>
          </p:nvPr>
        </p:nvSpPr>
        <p:spPr bwMode="gray">
          <a:xfrm>
            <a:off x="3359976" y="5121256"/>
            <a:ext cx="2519362" cy="612000"/>
          </a:xfrm>
          <a:solidFill>
            <a:schemeClr val="accent1">
              <a:alpha val="60000"/>
            </a:schemeClr>
          </a:solidFill>
        </p:spPr>
        <p:txBody>
          <a:bodyPr/>
          <a:lstStyle>
            <a:lvl1pPr>
              <a:defRPr/>
            </a:lvl1pPr>
          </a:lstStyle>
          <a:p>
            <a:pPr lvl="0"/>
            <a:r>
              <a:rPr lang="en-US"/>
              <a:t> </a:t>
            </a:r>
          </a:p>
        </p:txBody>
      </p:sp>
      <p:sp>
        <p:nvSpPr>
          <p:cNvPr id="39" name="Textplatzhalter 44">
            <a:extLst>
              <a:ext uri="{FF2B5EF4-FFF2-40B4-BE49-F238E27FC236}">
                <a16:creationId xmlns:a16="http://schemas.microsoft.com/office/drawing/2014/main" id="{37510859-A602-4E41-ADB6-82AFD9BC000F}"/>
              </a:ext>
            </a:extLst>
          </p:cNvPr>
          <p:cNvSpPr>
            <a:spLocks noGrp="1"/>
          </p:cNvSpPr>
          <p:nvPr>
            <p:ph type="body" sz="quarter" idx="59" hasCustomPrompt="1"/>
          </p:nvPr>
        </p:nvSpPr>
        <p:spPr bwMode="gray">
          <a:xfrm flipV="1">
            <a:off x="3359976" y="5121256"/>
            <a:ext cx="2519362" cy="612000"/>
          </a:xfrm>
          <a:custGeom>
            <a:avLst/>
            <a:gdLst>
              <a:gd name="connsiteX0" fmla="*/ 0 w 2519362"/>
              <a:gd name="connsiteY0" fmla="*/ 0 h 906016"/>
              <a:gd name="connsiteX1" fmla="*/ 2519362 w 2519362"/>
              <a:gd name="connsiteY1" fmla="*/ 0 h 906016"/>
              <a:gd name="connsiteX2" fmla="*/ 2519362 w 2519362"/>
              <a:gd name="connsiteY2" fmla="*/ 906016 h 906016"/>
              <a:gd name="connsiteX3" fmla="*/ 209127 w 2519362"/>
              <a:gd name="connsiteY3" fmla="*/ 906016 h 906016"/>
              <a:gd name="connsiteX4" fmla="*/ 0 w 2519362"/>
              <a:gd name="connsiteY4" fmla="*/ 707531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707531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617043 h 906016"/>
              <a:gd name="connsiteX4" fmla="*/ 0 w 2519362"/>
              <a:gd name="connsiteY4" fmla="*/ 0 h 906016"/>
              <a:gd name="connsiteX0" fmla="*/ 0 w 2519362"/>
              <a:gd name="connsiteY0" fmla="*/ 0 h 906016"/>
              <a:gd name="connsiteX1" fmla="*/ 2519362 w 2519362"/>
              <a:gd name="connsiteY1" fmla="*/ 0 h 906016"/>
              <a:gd name="connsiteX2" fmla="*/ 2519362 w 2519362"/>
              <a:gd name="connsiteY2" fmla="*/ 906016 h 906016"/>
              <a:gd name="connsiteX3" fmla="*/ 0 w 2519362"/>
              <a:gd name="connsiteY3" fmla="*/ 0 h 906016"/>
            </a:gdLst>
            <a:ahLst/>
            <a:cxnLst>
              <a:cxn ang="0">
                <a:pos x="connsiteX0" y="connsiteY0"/>
              </a:cxn>
              <a:cxn ang="0">
                <a:pos x="connsiteX1" y="connsiteY1"/>
              </a:cxn>
              <a:cxn ang="0">
                <a:pos x="connsiteX2" y="connsiteY2"/>
              </a:cxn>
              <a:cxn ang="0">
                <a:pos x="connsiteX3" y="connsiteY3"/>
              </a:cxn>
            </a:cxnLst>
            <a:rect l="l" t="t" r="r" b="b"/>
            <a:pathLst>
              <a:path w="2519362" h="906016">
                <a:moveTo>
                  <a:pt x="0" y="0"/>
                </a:moveTo>
                <a:lnTo>
                  <a:pt x="2519362" y="0"/>
                </a:lnTo>
                <a:lnTo>
                  <a:pt x="2519362" y="906016"/>
                </a:lnTo>
                <a:lnTo>
                  <a:pt x="0" y="0"/>
                </a:lnTo>
                <a:close/>
              </a:path>
            </a:pathLst>
          </a:custGeom>
          <a:solidFill>
            <a:schemeClr val="accent1">
              <a:alpha val="80000"/>
            </a:schemeClr>
          </a:solidFill>
        </p:spPr>
        <p:txBody>
          <a:bodyPr wrap="square">
            <a:noAutofit/>
          </a:bodyPr>
          <a:lstStyle>
            <a:lvl1pPr>
              <a:defRPr/>
            </a:lvl1pPr>
          </a:lstStyle>
          <a:p>
            <a:pPr lvl="0"/>
            <a:r>
              <a:rPr lang="en-US"/>
              <a:t> </a:t>
            </a:r>
          </a:p>
        </p:txBody>
      </p:sp>
    </p:spTree>
    <p:extLst>
      <p:ext uri="{BB962C8B-B14F-4D97-AF65-F5344CB8AC3E}">
        <p14:creationId xmlns:p14="http://schemas.microsoft.com/office/powerpoint/2010/main" val="1867635602"/>
      </p:ext>
    </p:extLst>
  </p:cSld>
  <p:clrMapOvr>
    <a:masterClrMapping/>
  </p:clrMapOvr>
  <p:extLst>
    <p:ext uri="{DCECCB84-F9BA-43D5-87BE-67443E8EF086}">
      <p15:sldGuideLst xmlns:p15="http://schemas.microsoft.com/office/powerpoint/2012/main">
        <p15:guide id="1" pos="1844" userDrawn="1">
          <p15:clr>
            <a:srgbClr val="FBAE40"/>
          </p15:clr>
        </p15:guide>
        <p15:guide id="2" pos="3704" userDrawn="1">
          <p15:clr>
            <a:srgbClr val="FBAE40"/>
          </p15:clr>
        </p15:guide>
        <p15:guide id="3" pos="3976" userDrawn="1">
          <p15:clr>
            <a:srgbClr val="FBAE40"/>
          </p15:clr>
        </p15:guide>
        <p15:guide id="4" pos="2116" userDrawn="1">
          <p15:clr>
            <a:srgbClr val="FBAE40"/>
          </p15:clr>
        </p15:guide>
        <p15:guide id="5" pos="5836" userDrawn="1">
          <p15:clr>
            <a:srgbClr val="FBAE40"/>
          </p15:clr>
        </p15:guide>
        <p15:guide id="6" pos="556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acts + picture galler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331C1-F248-4F9A-B913-1ECF64853F44}"/>
              </a:ext>
            </a:extLst>
          </p:cNvPr>
          <p:cNvSpPr>
            <a:spLocks noGrp="1"/>
          </p:cNvSpPr>
          <p:nvPr>
            <p:ph type="title" hasCustomPrompt="1"/>
          </p:nvPr>
        </p:nvSpPr>
        <p:spPr bwMode="gray">
          <a:xfrm>
            <a:off x="9264352" y="1484896"/>
            <a:ext cx="2520000" cy="1152000"/>
          </a:xfrm>
        </p:spPr>
        <p:txBody>
          <a:bodyPr anchor="b" anchorCtr="0"/>
          <a:lstStyle>
            <a:lvl1pPr>
              <a:defRPr/>
            </a:lvl1pPr>
          </a:lstStyle>
          <a:p>
            <a:r>
              <a:rPr lang="en-US" noProof="0"/>
              <a:t>Click to add headline</a:t>
            </a:r>
            <a:endParaRPr lang="en-US"/>
          </a:p>
        </p:txBody>
      </p:sp>
      <p:sp>
        <p:nvSpPr>
          <p:cNvPr id="5" name="Foliennummernplatzhalter 4">
            <a:extLst>
              <a:ext uri="{FF2B5EF4-FFF2-40B4-BE49-F238E27FC236}">
                <a16:creationId xmlns:a16="http://schemas.microsoft.com/office/drawing/2014/main" id="{E08DEEAD-C858-4DE2-9E16-7D3D41A4D7D7}"/>
              </a:ext>
            </a:extLst>
          </p:cNvPr>
          <p:cNvSpPr>
            <a:spLocks noGrp="1"/>
          </p:cNvSpPr>
          <p:nvPr>
            <p:ph type="sldNum" sz="quarter" idx="12"/>
          </p:nvPr>
        </p:nvSpPr>
        <p:spPr bwMode="gray"/>
        <p:txBody>
          <a:bodyPr/>
          <a:lstStyle/>
          <a:p>
            <a:fld id="{3B140A39-527A-45CF-A911-B921024B92E6}" type="slidenum">
              <a:rPr lang="en-US" smtClean="0"/>
              <a:t>‹#›</a:t>
            </a:fld>
            <a:endParaRPr lang="en-US"/>
          </a:p>
        </p:txBody>
      </p:sp>
      <p:sp>
        <p:nvSpPr>
          <p:cNvPr id="6" name="Bildplatzhalter 26">
            <a:extLst>
              <a:ext uri="{FF2B5EF4-FFF2-40B4-BE49-F238E27FC236}">
                <a16:creationId xmlns:a16="http://schemas.microsoft.com/office/drawing/2014/main" id="{9DF07A8D-3E2F-407D-9A00-4B35D918F202}"/>
              </a:ext>
            </a:extLst>
          </p:cNvPr>
          <p:cNvSpPr>
            <a:spLocks noGrp="1"/>
          </p:cNvSpPr>
          <p:nvPr>
            <p:ph type="pic" sz="quarter" idx="10" hasCustomPrompt="1"/>
          </p:nvPr>
        </p:nvSpPr>
        <p:spPr bwMode="gray">
          <a:xfrm>
            <a:off x="6528048" y="404664"/>
            <a:ext cx="2304000" cy="1656000"/>
          </a:xfrm>
          <a:solidFill>
            <a:schemeClr val="accent3"/>
          </a:solidFill>
        </p:spPr>
        <p:txBody>
          <a:bodyPr tIns="108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8" name="Textplatzhalter 7">
            <a:extLst>
              <a:ext uri="{FF2B5EF4-FFF2-40B4-BE49-F238E27FC236}">
                <a16:creationId xmlns:a16="http://schemas.microsoft.com/office/drawing/2014/main" id="{BB404A11-EDB7-461D-8872-FF98DDAEB883}"/>
              </a:ext>
            </a:extLst>
          </p:cNvPr>
          <p:cNvSpPr>
            <a:spLocks noGrp="1"/>
          </p:cNvSpPr>
          <p:nvPr>
            <p:ph type="body" sz="quarter" idx="13" hasCustomPrompt="1"/>
          </p:nvPr>
        </p:nvSpPr>
        <p:spPr bwMode="gray">
          <a:xfrm>
            <a:off x="9264650" y="2781328"/>
            <a:ext cx="2519363" cy="360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Bildplatzhalter 26">
            <a:extLst>
              <a:ext uri="{FF2B5EF4-FFF2-40B4-BE49-F238E27FC236}">
                <a16:creationId xmlns:a16="http://schemas.microsoft.com/office/drawing/2014/main" id="{2D50874D-B292-4192-A678-D9FACFAC8785}"/>
              </a:ext>
            </a:extLst>
          </p:cNvPr>
          <p:cNvSpPr>
            <a:spLocks noGrp="1"/>
          </p:cNvSpPr>
          <p:nvPr>
            <p:ph type="pic" sz="quarter" idx="14" hasCustomPrompt="1"/>
          </p:nvPr>
        </p:nvSpPr>
        <p:spPr bwMode="gray">
          <a:xfrm>
            <a:off x="407987" y="836696"/>
            <a:ext cx="5940000" cy="3600000"/>
          </a:xfrm>
          <a:solidFill>
            <a:schemeClr val="accent3"/>
          </a:solidFill>
        </p:spPr>
        <p:txBody>
          <a:bodyPr tIns="165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0" name="Bildplatzhalter 26">
            <a:extLst>
              <a:ext uri="{FF2B5EF4-FFF2-40B4-BE49-F238E27FC236}">
                <a16:creationId xmlns:a16="http://schemas.microsoft.com/office/drawing/2014/main" id="{4C64E45E-A669-486C-8B63-604789ADE209}"/>
              </a:ext>
            </a:extLst>
          </p:cNvPr>
          <p:cNvSpPr>
            <a:spLocks noGrp="1"/>
          </p:cNvSpPr>
          <p:nvPr>
            <p:ph type="pic" sz="quarter" idx="15" hasCustomPrompt="1"/>
          </p:nvPr>
        </p:nvSpPr>
        <p:spPr bwMode="gray">
          <a:xfrm>
            <a:off x="6528304" y="2204864"/>
            <a:ext cx="2304000" cy="1656000"/>
          </a:xfrm>
          <a:solidFill>
            <a:schemeClr val="accent3"/>
          </a:solidFill>
        </p:spPr>
        <p:txBody>
          <a:bodyPr tIns="108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1" name="Bildplatzhalter 26">
            <a:extLst>
              <a:ext uri="{FF2B5EF4-FFF2-40B4-BE49-F238E27FC236}">
                <a16:creationId xmlns:a16="http://schemas.microsoft.com/office/drawing/2014/main" id="{82086F84-780A-412E-BC50-84CDCD8821AD}"/>
              </a:ext>
            </a:extLst>
          </p:cNvPr>
          <p:cNvSpPr>
            <a:spLocks noGrp="1"/>
          </p:cNvSpPr>
          <p:nvPr>
            <p:ph type="pic" sz="quarter" idx="16" hasCustomPrompt="1"/>
          </p:nvPr>
        </p:nvSpPr>
        <p:spPr bwMode="gray">
          <a:xfrm>
            <a:off x="6024304" y="4581328"/>
            <a:ext cx="2808000" cy="1800000"/>
          </a:xfrm>
          <a:solidFill>
            <a:schemeClr val="accent3"/>
          </a:solidFill>
        </p:spPr>
        <p:txBody>
          <a:bodyPr tIns="1188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3" name="Bildplatzhalter 26">
            <a:extLst>
              <a:ext uri="{FF2B5EF4-FFF2-40B4-BE49-F238E27FC236}">
                <a16:creationId xmlns:a16="http://schemas.microsoft.com/office/drawing/2014/main" id="{870520FF-ED48-4387-9AF0-E894FAD89EC6}"/>
              </a:ext>
            </a:extLst>
          </p:cNvPr>
          <p:cNvSpPr>
            <a:spLocks noGrp="1"/>
          </p:cNvSpPr>
          <p:nvPr>
            <p:ph type="pic" sz="quarter" idx="17" hasCustomPrompt="1"/>
          </p:nvPr>
        </p:nvSpPr>
        <p:spPr bwMode="gray">
          <a:xfrm>
            <a:off x="3071976" y="4581328"/>
            <a:ext cx="2808000" cy="1800000"/>
          </a:xfrm>
          <a:solidFill>
            <a:schemeClr val="accent3"/>
          </a:solidFill>
        </p:spPr>
        <p:txBody>
          <a:bodyPr tIns="1188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5" name="Bildplatzhalter 26">
            <a:extLst>
              <a:ext uri="{FF2B5EF4-FFF2-40B4-BE49-F238E27FC236}">
                <a16:creationId xmlns:a16="http://schemas.microsoft.com/office/drawing/2014/main" id="{C0B947C0-DD72-4B6F-9C87-F9CAAD13DDE9}"/>
              </a:ext>
            </a:extLst>
          </p:cNvPr>
          <p:cNvSpPr>
            <a:spLocks noGrp="1"/>
          </p:cNvSpPr>
          <p:nvPr>
            <p:ph type="pic" sz="quarter" idx="18" hasCustomPrompt="1"/>
          </p:nvPr>
        </p:nvSpPr>
        <p:spPr bwMode="gray">
          <a:xfrm>
            <a:off x="623648" y="4581296"/>
            <a:ext cx="2304000" cy="1584000"/>
          </a:xfrm>
          <a:solidFill>
            <a:schemeClr val="accent3"/>
          </a:solidFill>
        </p:spPr>
        <p:txBody>
          <a:bodyPr tIns="1044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accent3"/>
                </a:solidFill>
              </a:defRPr>
            </a:lvl2pPr>
            <a:lvl3pPr marL="0" indent="0" algn="ctr">
              <a:lnSpc>
                <a:spcPct val="100000"/>
              </a:lnSpc>
              <a:spcBef>
                <a:spcPts val="0"/>
              </a:spcBef>
              <a:spcAft>
                <a:spcPts val="0"/>
              </a:spcAft>
              <a:buNone/>
              <a:defRPr sz="800" b="0">
                <a:solidFill>
                  <a:schemeClr val="accent3"/>
                </a:solidFill>
              </a:defRPr>
            </a:lvl3pPr>
            <a:lvl4pPr marL="0" indent="0" algn="ctr">
              <a:lnSpc>
                <a:spcPct val="100000"/>
              </a:lnSpc>
              <a:spcBef>
                <a:spcPts val="0"/>
              </a:spcBef>
              <a:spcAft>
                <a:spcPts val="0"/>
              </a:spcAft>
              <a:buNone/>
              <a:defRPr sz="800" b="0">
                <a:solidFill>
                  <a:schemeClr val="accent3"/>
                </a:solidFill>
              </a:defRPr>
            </a:lvl4pPr>
            <a:lvl5pPr marL="0" indent="0" algn="ctr">
              <a:lnSpc>
                <a:spcPct val="100000"/>
              </a:lnSpc>
              <a:spcBef>
                <a:spcPts val="0"/>
              </a:spcBef>
              <a:spcAft>
                <a:spcPts val="0"/>
              </a:spcAft>
              <a:buNone/>
              <a:defRPr sz="800" b="0">
                <a:solidFill>
                  <a:schemeClr val="accent3"/>
                </a:solidFill>
              </a:defRPr>
            </a:lvl5pPr>
            <a:lvl6pPr marL="0" indent="0" algn="ctr">
              <a:lnSpc>
                <a:spcPct val="100000"/>
              </a:lnSpc>
              <a:spcBef>
                <a:spcPts val="0"/>
              </a:spcBef>
              <a:spcAft>
                <a:spcPts val="0"/>
              </a:spcAft>
              <a:buNone/>
              <a:defRPr sz="800" b="0">
                <a:solidFill>
                  <a:schemeClr val="accent3"/>
                </a:solidFill>
              </a:defRPr>
            </a:lvl6pPr>
            <a:lvl7pPr marL="0" indent="0" algn="ctr">
              <a:lnSpc>
                <a:spcPct val="100000"/>
              </a:lnSpc>
              <a:spcBef>
                <a:spcPts val="0"/>
              </a:spcBef>
              <a:spcAft>
                <a:spcPts val="0"/>
              </a:spcAft>
              <a:buNone/>
              <a:defRPr sz="800" b="0">
                <a:solidFill>
                  <a:schemeClr val="accent3"/>
                </a:solidFill>
              </a:defRPr>
            </a:lvl7pPr>
            <a:lvl8pPr marL="0" indent="0" algn="ctr">
              <a:lnSpc>
                <a:spcPct val="100000"/>
              </a:lnSpc>
              <a:spcBef>
                <a:spcPts val="0"/>
              </a:spcBef>
              <a:spcAft>
                <a:spcPts val="0"/>
              </a:spcAft>
              <a:buNone/>
              <a:defRPr sz="800" b="0">
                <a:solidFill>
                  <a:schemeClr val="accent3"/>
                </a:solidFill>
              </a:defRPr>
            </a:lvl8pPr>
            <a:lvl9pPr marL="0" indent="0" algn="ctr">
              <a:lnSpc>
                <a:spcPct val="100000"/>
              </a:lnSpc>
              <a:spcBef>
                <a:spcPts val="0"/>
              </a:spcBef>
              <a:spcAft>
                <a:spcPts val="0"/>
              </a:spcAft>
              <a:buNone/>
              <a:defRPr sz="800" b="0">
                <a:solidFill>
                  <a:schemeClr val="accent3"/>
                </a:solidFill>
              </a:defRPr>
            </a:lvl9pPr>
          </a:lstStyle>
          <a:p>
            <a:pPr lvl="0"/>
            <a:r>
              <a:rPr lang="en-US" noProof="0"/>
              <a:t>To add a picture click the icon</a:t>
            </a:r>
          </a:p>
        </p:txBody>
      </p:sp>
      <p:sp>
        <p:nvSpPr>
          <p:cNvPr id="16" name="Textplatzhalter 6">
            <a:extLst>
              <a:ext uri="{FF2B5EF4-FFF2-40B4-BE49-F238E27FC236}">
                <a16:creationId xmlns:a16="http://schemas.microsoft.com/office/drawing/2014/main" id="{E295534A-0B73-46FB-A0C1-FDEF50247A0E}"/>
              </a:ext>
            </a:extLst>
          </p:cNvPr>
          <p:cNvSpPr>
            <a:spLocks noGrp="1"/>
          </p:cNvSpPr>
          <p:nvPr>
            <p:ph type="body" sz="quarter" idx="19" hasCustomPrompt="1"/>
          </p:nvPr>
        </p:nvSpPr>
        <p:spPr bwMode="gray">
          <a:xfrm>
            <a:off x="408051" y="837135"/>
            <a:ext cx="647389" cy="3600000"/>
          </a:xfrm>
          <a:solidFill>
            <a:schemeClr val="accent1"/>
          </a:solidFill>
        </p:spPr>
        <p:txBody>
          <a:bodyPr/>
          <a:lstStyle>
            <a:lvl1pPr>
              <a:defRPr/>
            </a:lvl1pPr>
          </a:lstStyle>
          <a:p>
            <a:pPr lvl="0"/>
            <a:r>
              <a:rPr lang="en-US" noProof="0"/>
              <a:t>  </a:t>
            </a:r>
          </a:p>
        </p:txBody>
      </p:sp>
      <p:sp>
        <p:nvSpPr>
          <p:cNvPr id="17" name="Textplatzhalter 19">
            <a:extLst>
              <a:ext uri="{FF2B5EF4-FFF2-40B4-BE49-F238E27FC236}">
                <a16:creationId xmlns:a16="http://schemas.microsoft.com/office/drawing/2014/main" id="{C6EFE638-C66A-420E-9D55-5F997CEFC223}"/>
              </a:ext>
            </a:extLst>
          </p:cNvPr>
          <p:cNvSpPr>
            <a:spLocks noGrp="1"/>
          </p:cNvSpPr>
          <p:nvPr>
            <p:ph type="body" sz="quarter" idx="25" hasCustomPrompt="1"/>
          </p:nvPr>
        </p:nvSpPr>
        <p:spPr bwMode="gray">
          <a:xfrm>
            <a:off x="1055480" y="837135"/>
            <a:ext cx="360000" cy="360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US" noProof="0"/>
              <a:t> </a:t>
            </a:r>
          </a:p>
        </p:txBody>
      </p:sp>
      <p:sp>
        <p:nvSpPr>
          <p:cNvPr id="18" name="Textplatzhalter 20">
            <a:extLst>
              <a:ext uri="{FF2B5EF4-FFF2-40B4-BE49-F238E27FC236}">
                <a16:creationId xmlns:a16="http://schemas.microsoft.com/office/drawing/2014/main" id="{10D99676-6A1B-4BEB-9897-32CD8F6BDABF}"/>
              </a:ext>
            </a:extLst>
          </p:cNvPr>
          <p:cNvSpPr>
            <a:spLocks noGrp="1"/>
          </p:cNvSpPr>
          <p:nvPr>
            <p:ph type="body" sz="quarter" idx="26" hasCustomPrompt="1"/>
          </p:nvPr>
        </p:nvSpPr>
        <p:spPr bwMode="gray">
          <a:xfrm>
            <a:off x="1055480" y="837136"/>
            <a:ext cx="360000" cy="360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US" noProof="0"/>
              <a:t>  </a:t>
            </a:r>
          </a:p>
        </p:txBody>
      </p:sp>
      <p:sp>
        <p:nvSpPr>
          <p:cNvPr id="4" name="Fußzeilenplatzhalter 3">
            <a:extLst>
              <a:ext uri="{FF2B5EF4-FFF2-40B4-BE49-F238E27FC236}">
                <a16:creationId xmlns:a16="http://schemas.microsoft.com/office/drawing/2014/main" id="{A2AD7ACD-CB5D-4711-AD37-24CCE085918C}"/>
              </a:ext>
            </a:extLst>
          </p:cNvPr>
          <p:cNvSpPr>
            <a:spLocks noGrp="1"/>
          </p:cNvSpPr>
          <p:nvPr>
            <p:ph type="ftr" sz="quarter" idx="27"/>
          </p:nvPr>
        </p:nvSpPr>
        <p:spPr/>
        <p:txBody>
          <a:bodyPr/>
          <a:lstStyle/>
          <a:p>
            <a:r>
              <a:rPr lang="en-GB" noProof="0"/>
              <a:t>BayWa r.e. AG Company Presentation 2024</a:t>
            </a:r>
            <a:endParaRPr lang="en-US" noProof="0"/>
          </a:p>
        </p:txBody>
      </p:sp>
      <p:sp>
        <p:nvSpPr>
          <p:cNvPr id="19" name="Rechteck 18">
            <a:extLst>
              <a:ext uri="{FF2B5EF4-FFF2-40B4-BE49-F238E27FC236}">
                <a16:creationId xmlns:a16="http://schemas.microsoft.com/office/drawing/2014/main" id="{63EEB439-61B5-454A-8839-B442536350C7}"/>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US" sz="1000" b="0">
                <a:solidFill>
                  <a:schemeClr val="tx1"/>
                </a:solidFill>
              </a:rPr>
            </a:br>
            <a:r>
              <a:rPr lang="en-US" sz="1000" b="0">
                <a:solidFill>
                  <a:schemeClr val="tx1"/>
                </a:solidFill>
              </a:rPr>
              <a:t>the list level:</a:t>
            </a:r>
          </a:p>
        </p:txBody>
      </p:sp>
      <p:pic>
        <p:nvPicPr>
          <p:cNvPr id="20" name="Grafik 19">
            <a:extLst>
              <a:ext uri="{FF2B5EF4-FFF2-40B4-BE49-F238E27FC236}">
                <a16:creationId xmlns:a16="http://schemas.microsoft.com/office/drawing/2014/main" id="{F5E163CF-704F-46C9-B4BF-CDEF7DC319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3356992"/>
            <a:ext cx="476316" cy="228632"/>
          </a:xfrm>
          <a:prstGeom prst="rect">
            <a:avLst/>
          </a:prstGeom>
        </p:spPr>
      </p:pic>
    </p:spTree>
    <p:extLst>
      <p:ext uri="{BB962C8B-B14F-4D97-AF65-F5344CB8AC3E}">
        <p14:creationId xmlns:p14="http://schemas.microsoft.com/office/powerpoint/2010/main" val="1649372086"/>
      </p:ext>
    </p:extLst>
  </p:cSld>
  <p:clrMapOvr>
    <a:masterClrMapping/>
  </p:clrMapOvr>
  <p:extLst>
    <p:ext uri="{DCECCB84-F9BA-43D5-87BE-67443E8EF086}">
      <p15:sldGuideLst xmlns:p15="http://schemas.microsoft.com/office/powerpoint/2012/main">
        <p15:guide id="1" pos="5836" userDrawn="1">
          <p15:clr>
            <a:srgbClr val="FBAE40"/>
          </p15:clr>
        </p15:guide>
        <p15:guide id="2" pos="556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331C1-F248-4F9A-B913-1ECF64853F44}"/>
              </a:ext>
            </a:extLst>
          </p:cNvPr>
          <p:cNvSpPr>
            <a:spLocks noGrp="1"/>
          </p:cNvSpPr>
          <p:nvPr>
            <p:ph type="title" hasCustomPrompt="1"/>
          </p:nvPr>
        </p:nvSpPr>
        <p:spPr/>
        <p:txBody>
          <a:bodyPr/>
          <a:lstStyle>
            <a:lvl1pPr>
              <a:defRPr/>
            </a:lvl1pPr>
          </a:lstStyle>
          <a:p>
            <a:r>
              <a:rPr lang="en-US" noProof="0"/>
              <a:t>Click to add headline</a:t>
            </a:r>
            <a:endParaRPr lang="en-US"/>
          </a:p>
        </p:txBody>
      </p:sp>
      <p:sp>
        <p:nvSpPr>
          <p:cNvPr id="5" name="Foliennummernplatzhalter 4">
            <a:extLst>
              <a:ext uri="{FF2B5EF4-FFF2-40B4-BE49-F238E27FC236}">
                <a16:creationId xmlns:a16="http://schemas.microsoft.com/office/drawing/2014/main" id="{E08DEEAD-C858-4DE2-9E16-7D3D41A4D7D7}"/>
              </a:ext>
            </a:extLst>
          </p:cNvPr>
          <p:cNvSpPr>
            <a:spLocks noGrp="1"/>
          </p:cNvSpPr>
          <p:nvPr>
            <p:ph type="sldNum" sz="quarter" idx="12"/>
          </p:nvPr>
        </p:nvSpPr>
        <p:spPr/>
        <p:txBody>
          <a:bodyPr/>
          <a:lstStyle/>
          <a:p>
            <a:fld id="{3B140A39-527A-45CF-A911-B921024B92E6}" type="slidenum">
              <a:rPr lang="en-US" smtClean="0"/>
              <a:t>‹#›</a:t>
            </a:fld>
            <a:endParaRPr lang="en-US"/>
          </a:p>
        </p:txBody>
      </p:sp>
      <p:sp>
        <p:nvSpPr>
          <p:cNvPr id="3" name="Fußzeilenplatzhalter 2">
            <a:extLst>
              <a:ext uri="{FF2B5EF4-FFF2-40B4-BE49-F238E27FC236}">
                <a16:creationId xmlns:a16="http://schemas.microsoft.com/office/drawing/2014/main" id="{DD487C19-ED5D-44F2-AECB-32EE2C6012A4}"/>
              </a:ext>
            </a:extLst>
          </p:cNvPr>
          <p:cNvSpPr>
            <a:spLocks noGrp="1"/>
          </p:cNvSpPr>
          <p:nvPr>
            <p:ph type="ftr" sz="quarter" idx="13"/>
          </p:nvPr>
        </p:nvSpPr>
        <p:spPr/>
        <p:txBody>
          <a:bodyPr/>
          <a:lstStyle/>
          <a:p>
            <a:r>
              <a:rPr lang="en-GB"/>
              <a:t>BayWa r.e. AG Company Presentation 2024</a:t>
            </a:r>
            <a:endParaRPr lang="en-US"/>
          </a:p>
        </p:txBody>
      </p:sp>
    </p:spTree>
    <p:extLst>
      <p:ext uri="{BB962C8B-B14F-4D97-AF65-F5344CB8AC3E}">
        <p14:creationId xmlns:p14="http://schemas.microsoft.com/office/powerpoint/2010/main" val="10022461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B4CFEEF-548D-47E7-9F1D-3D21C520F8CF}"/>
              </a:ext>
            </a:extLst>
          </p:cNvPr>
          <p:cNvSpPr>
            <a:spLocks noGrp="1"/>
          </p:cNvSpPr>
          <p:nvPr>
            <p:ph type="sldNum" sz="quarter" idx="12"/>
          </p:nvPr>
        </p:nvSpPr>
        <p:spPr/>
        <p:txBody>
          <a:bodyPr/>
          <a:lstStyle/>
          <a:p>
            <a:fld id="{3B140A39-527A-45CF-A911-B921024B92E6}" type="slidenum">
              <a:rPr lang="en-US" smtClean="0"/>
              <a:t>‹#›</a:t>
            </a:fld>
            <a:endParaRPr lang="en-US"/>
          </a:p>
        </p:txBody>
      </p:sp>
      <p:sp>
        <p:nvSpPr>
          <p:cNvPr id="2" name="Fußzeilenplatzhalter 1">
            <a:extLst>
              <a:ext uri="{FF2B5EF4-FFF2-40B4-BE49-F238E27FC236}">
                <a16:creationId xmlns:a16="http://schemas.microsoft.com/office/drawing/2014/main" id="{62499311-1F4C-4C7A-9F37-4C3C828E866A}"/>
              </a:ext>
            </a:extLst>
          </p:cNvPr>
          <p:cNvSpPr>
            <a:spLocks noGrp="1"/>
          </p:cNvSpPr>
          <p:nvPr>
            <p:ph type="ftr" sz="quarter" idx="13"/>
          </p:nvPr>
        </p:nvSpPr>
        <p:spPr/>
        <p:txBody>
          <a:bodyPr/>
          <a:lstStyle/>
          <a:p>
            <a:r>
              <a:rPr lang="en-GB"/>
              <a:t>BayWa r.e. AG Company Presentation 2024</a:t>
            </a:r>
            <a:endParaRPr lang="en-US"/>
          </a:p>
        </p:txBody>
      </p:sp>
    </p:spTree>
    <p:extLst>
      <p:ext uri="{BB962C8B-B14F-4D97-AF65-F5344CB8AC3E}">
        <p14:creationId xmlns:p14="http://schemas.microsoft.com/office/powerpoint/2010/main" val="2465895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solidFill>
          <a:schemeClr val="accent3"/>
        </a:solidFill>
        <a:effectLst/>
      </p:bgPr>
    </p:bg>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021B37D1-6F10-4868-9644-8E98F676CED5}"/>
              </a:ext>
            </a:extLst>
          </p:cNvPr>
          <p:cNvSpPr/>
          <p:nvPr userDrawn="1"/>
        </p:nvSpPr>
        <p:spPr bwMode="gray">
          <a:xfrm>
            <a:off x="0" y="-9525"/>
            <a:ext cx="8256588" cy="686752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hteck 29">
            <a:extLst>
              <a:ext uri="{FF2B5EF4-FFF2-40B4-BE49-F238E27FC236}">
                <a16:creationId xmlns:a16="http://schemas.microsoft.com/office/drawing/2014/main" id="{2C540673-DC23-4CE7-AAF9-4DD753659FB8}"/>
              </a:ext>
            </a:extLst>
          </p:cNvPr>
          <p:cNvSpPr/>
          <p:nvPr userDrawn="1"/>
        </p:nvSpPr>
        <p:spPr bwMode="gray">
          <a:xfrm>
            <a:off x="-1" y="-9525"/>
            <a:ext cx="8258175" cy="6867525"/>
          </a:xfrm>
          <a:custGeom>
            <a:avLst/>
            <a:gdLst>
              <a:gd name="connsiteX0" fmla="*/ 0 w 8258175"/>
              <a:gd name="connsiteY0" fmla="*/ 0 h 6858000"/>
              <a:gd name="connsiteX1" fmla="*/ 8258175 w 8258175"/>
              <a:gd name="connsiteY1" fmla="*/ 0 h 6858000"/>
              <a:gd name="connsiteX2" fmla="*/ 8258175 w 8258175"/>
              <a:gd name="connsiteY2" fmla="*/ 6858000 h 6858000"/>
              <a:gd name="connsiteX3" fmla="*/ 0 w 8258175"/>
              <a:gd name="connsiteY3" fmla="*/ 6858000 h 6858000"/>
              <a:gd name="connsiteX4" fmla="*/ 0 w 8258175"/>
              <a:gd name="connsiteY4" fmla="*/ 0 h 6858000"/>
              <a:gd name="connsiteX0" fmla="*/ 0 w 8258175"/>
              <a:gd name="connsiteY0" fmla="*/ 0 h 6869953"/>
              <a:gd name="connsiteX1" fmla="*/ 8258175 w 8258175"/>
              <a:gd name="connsiteY1" fmla="*/ 0 h 6869953"/>
              <a:gd name="connsiteX2" fmla="*/ 7540998 w 8258175"/>
              <a:gd name="connsiteY2" fmla="*/ 6869953 h 6869953"/>
              <a:gd name="connsiteX3" fmla="*/ 0 w 8258175"/>
              <a:gd name="connsiteY3" fmla="*/ 6858000 h 6869953"/>
              <a:gd name="connsiteX4" fmla="*/ 0 w 8258175"/>
              <a:gd name="connsiteY4" fmla="*/ 0 h 6869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8175" h="6869953">
                <a:moveTo>
                  <a:pt x="0" y="0"/>
                </a:moveTo>
                <a:lnTo>
                  <a:pt x="8258175" y="0"/>
                </a:lnTo>
                <a:lnTo>
                  <a:pt x="7540998" y="6869953"/>
                </a:lnTo>
                <a:lnTo>
                  <a:pt x="0" y="6858000"/>
                </a:lnTo>
                <a:lnTo>
                  <a:pt x="0" y="0"/>
                </a:lnTo>
                <a:close/>
              </a:path>
            </a:pathLst>
          </a:cu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hteck 32">
            <a:extLst>
              <a:ext uri="{FF2B5EF4-FFF2-40B4-BE49-F238E27FC236}">
                <a16:creationId xmlns:a16="http://schemas.microsoft.com/office/drawing/2014/main" id="{8CC74189-3E55-4A45-8D29-F7BD3276D480}"/>
              </a:ext>
            </a:extLst>
          </p:cNvPr>
          <p:cNvSpPr/>
          <p:nvPr userDrawn="1"/>
        </p:nvSpPr>
        <p:spPr bwMode="gray">
          <a:xfrm>
            <a:off x="-1" y="-9526"/>
            <a:ext cx="7535864" cy="6867525"/>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hteck 33">
            <a:extLst>
              <a:ext uri="{FF2B5EF4-FFF2-40B4-BE49-F238E27FC236}">
                <a16:creationId xmlns:a16="http://schemas.microsoft.com/office/drawing/2014/main" id="{88207593-70E6-49B8-97A9-41E0C0F019AB}"/>
              </a:ext>
            </a:extLst>
          </p:cNvPr>
          <p:cNvSpPr/>
          <p:nvPr userDrawn="1"/>
        </p:nvSpPr>
        <p:spPr bwMode="gray">
          <a:xfrm>
            <a:off x="0" y="-9525"/>
            <a:ext cx="7535863" cy="6867524"/>
          </a:xfrm>
          <a:custGeom>
            <a:avLst/>
            <a:gdLst>
              <a:gd name="connsiteX0" fmla="*/ 0 w 7535863"/>
              <a:gd name="connsiteY0" fmla="*/ 0 h 6858000"/>
              <a:gd name="connsiteX1" fmla="*/ 7535863 w 7535863"/>
              <a:gd name="connsiteY1" fmla="*/ 0 h 6858000"/>
              <a:gd name="connsiteX2" fmla="*/ 7535863 w 7535863"/>
              <a:gd name="connsiteY2" fmla="*/ 6858000 h 6858000"/>
              <a:gd name="connsiteX3" fmla="*/ 0 w 7535863"/>
              <a:gd name="connsiteY3" fmla="*/ 6858000 h 6858000"/>
              <a:gd name="connsiteX4" fmla="*/ 0 w 7535863"/>
              <a:gd name="connsiteY4" fmla="*/ 0 h 6858000"/>
              <a:gd name="connsiteX0" fmla="*/ 0 w 7535863"/>
              <a:gd name="connsiteY0" fmla="*/ 0 h 6858000"/>
              <a:gd name="connsiteX1" fmla="*/ 7535863 w 7535863"/>
              <a:gd name="connsiteY1" fmla="*/ 0 h 6858000"/>
              <a:gd name="connsiteX2" fmla="*/ 6119439 w 7535863"/>
              <a:gd name="connsiteY2" fmla="*/ 6858000 h 6858000"/>
              <a:gd name="connsiteX3" fmla="*/ 0 w 7535863"/>
              <a:gd name="connsiteY3" fmla="*/ 6858000 h 6858000"/>
              <a:gd name="connsiteX4" fmla="*/ 0 w 75358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863" h="6858000">
                <a:moveTo>
                  <a:pt x="0" y="0"/>
                </a:moveTo>
                <a:lnTo>
                  <a:pt x="7535863" y="0"/>
                </a:lnTo>
                <a:lnTo>
                  <a:pt x="6119439" y="6858000"/>
                </a:lnTo>
                <a:lnTo>
                  <a:pt x="0" y="6858000"/>
                </a:lnTo>
                <a:lnTo>
                  <a:pt x="0" y="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a:extLst>
              <a:ext uri="{FF2B5EF4-FFF2-40B4-BE49-F238E27FC236}">
                <a16:creationId xmlns:a16="http://schemas.microsoft.com/office/drawing/2014/main" id="{71AC40C6-4EF3-4113-AB1E-AB7F29FF4F1D}"/>
              </a:ext>
            </a:extLst>
          </p:cNvPr>
          <p:cNvSpPr/>
          <p:nvPr userDrawn="1"/>
        </p:nvSpPr>
        <p:spPr bwMode="gray">
          <a:xfrm>
            <a:off x="0" y="1"/>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Textplatzhalter 13">
            <a:extLst>
              <a:ext uri="{FF2B5EF4-FFF2-40B4-BE49-F238E27FC236}">
                <a16:creationId xmlns:a16="http://schemas.microsoft.com/office/drawing/2014/main" id="{EA7E1995-EED0-4680-BB59-73BA13D335CC}"/>
              </a:ext>
            </a:extLst>
          </p:cNvPr>
          <p:cNvSpPr>
            <a:spLocks noGrp="1"/>
          </p:cNvSpPr>
          <p:nvPr userDrawn="1">
            <p:ph type="body" sz="quarter" idx="13" hasCustomPrompt="1"/>
          </p:nvPr>
        </p:nvSpPr>
        <p:spPr bwMode="black">
          <a:xfrm>
            <a:off x="8688632" y="4869011"/>
            <a:ext cx="3096000" cy="1440000"/>
          </a:xfrm>
        </p:spPr>
        <p:txBody>
          <a:bodyPr/>
          <a:lstStyle>
            <a:lvl1pPr marL="0" indent="0">
              <a:buFont typeface="Arial" panose="020B0604020202020204" pitchFamily="34" charset="0"/>
              <a:buNone/>
              <a:defRPr>
                <a:solidFill>
                  <a:schemeClr val="accent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Bef>
                <a:spcPts val="0"/>
              </a:spcBef>
              <a:spcAft>
                <a:spcPts val="0"/>
              </a:spcAft>
              <a:buNone/>
              <a:defRPr sz="1200">
                <a:solidFill>
                  <a:schemeClr val="bg1"/>
                </a:solidFill>
              </a:defRPr>
            </a:lvl4pPr>
            <a:lvl5pPr marL="0" indent="0">
              <a:spcBef>
                <a:spcPts val="0"/>
              </a:spcBef>
              <a:spcAft>
                <a:spcPts val="0"/>
              </a:spcAft>
              <a:buNone/>
              <a:defRPr sz="1200">
                <a:solidFill>
                  <a:schemeClr val="bg1"/>
                </a:solidFill>
              </a:defRPr>
            </a:lvl5pPr>
            <a:lvl6pPr marL="0" indent="0">
              <a:spcBef>
                <a:spcPts val="0"/>
              </a:spcBef>
              <a:spcAft>
                <a:spcPts val="0"/>
              </a:spcAft>
              <a:buNone/>
              <a:defRPr sz="1200">
                <a:solidFill>
                  <a:schemeClr val="bg1"/>
                </a:solidFill>
              </a:defRPr>
            </a:lvl6pPr>
            <a:lvl7pPr marL="0" indent="0">
              <a:spcBef>
                <a:spcPts val="0"/>
              </a:spcBef>
              <a:spcAft>
                <a:spcPts val="0"/>
              </a:spcAft>
              <a:buNone/>
              <a:defRPr sz="1200">
                <a:solidFill>
                  <a:schemeClr val="bg1"/>
                </a:solidFill>
              </a:defRPr>
            </a:lvl7pPr>
            <a:lvl8pPr marL="0" indent="0">
              <a:spcBef>
                <a:spcPts val="0"/>
              </a:spcBef>
              <a:spcAft>
                <a:spcPts val="0"/>
              </a:spcAft>
              <a:buNone/>
              <a:defRPr sz="1200">
                <a:solidFill>
                  <a:schemeClr val="bg1"/>
                </a:solidFill>
              </a:defRPr>
            </a:lvl8pPr>
            <a:lvl9pPr marL="0" indent="0">
              <a:spcBef>
                <a:spcPts val="0"/>
              </a:spcBef>
              <a:spcAft>
                <a:spcPts val="0"/>
              </a:spcAft>
              <a:buNone/>
              <a:defRPr sz="1200">
                <a:solidFill>
                  <a:schemeClr val="bg1"/>
                </a:solidFill>
              </a:defRPr>
            </a:lvl9pPr>
          </a:lstStyle>
          <a:p>
            <a:pPr lvl="0"/>
            <a:r>
              <a:rPr lang="en-US"/>
              <a:t>Click to add text</a:t>
            </a:r>
          </a:p>
          <a:p>
            <a:pPr lvl="1"/>
            <a:r>
              <a:rPr lang="en-US"/>
              <a:t>Second level</a:t>
            </a:r>
          </a:p>
          <a:p>
            <a:pPr lvl="2"/>
            <a:r>
              <a:rPr lang="en-US"/>
              <a:t>Third level</a:t>
            </a:r>
          </a:p>
        </p:txBody>
      </p:sp>
      <p:sp>
        <p:nvSpPr>
          <p:cNvPr id="21" name="Titel 2">
            <a:extLst>
              <a:ext uri="{FF2B5EF4-FFF2-40B4-BE49-F238E27FC236}">
                <a16:creationId xmlns:a16="http://schemas.microsoft.com/office/drawing/2014/main" id="{46B7FE29-1F6B-4A14-B0CE-B68BFE147FBD}"/>
              </a:ext>
            </a:extLst>
          </p:cNvPr>
          <p:cNvSpPr>
            <a:spLocks noGrp="1"/>
          </p:cNvSpPr>
          <p:nvPr userDrawn="1">
            <p:ph type="title" hasCustomPrompt="1"/>
          </p:nvPr>
        </p:nvSpPr>
        <p:spPr bwMode="black">
          <a:xfrm>
            <a:off x="8688632" y="3909159"/>
            <a:ext cx="3096000" cy="648000"/>
          </a:xfrm>
        </p:spPr>
        <p:txBody>
          <a:bodyPr anchor="b"/>
          <a:lstStyle>
            <a:lvl1pPr>
              <a:defRPr sz="3600">
                <a:solidFill>
                  <a:schemeClr val="bg1"/>
                </a:solidFill>
              </a:defRPr>
            </a:lvl1pPr>
          </a:lstStyle>
          <a:p>
            <a:r>
              <a:rPr lang="en-US"/>
              <a:t>Thank you</a:t>
            </a:r>
          </a:p>
        </p:txBody>
      </p:sp>
      <p:sp>
        <p:nvSpPr>
          <p:cNvPr id="16" name="Textplatzhalter 9">
            <a:extLst>
              <a:ext uri="{FF2B5EF4-FFF2-40B4-BE49-F238E27FC236}">
                <a16:creationId xmlns:a16="http://schemas.microsoft.com/office/drawing/2014/main" id="{4CE18123-3781-48F5-9C40-472F00008811}"/>
              </a:ext>
            </a:extLst>
          </p:cNvPr>
          <p:cNvSpPr>
            <a:spLocks noGrp="1"/>
          </p:cNvSpPr>
          <p:nvPr>
            <p:ph type="body" sz="quarter" idx="35" hasCustomPrompt="1"/>
          </p:nvPr>
        </p:nvSpPr>
        <p:spPr bwMode="gray">
          <a:xfrm>
            <a:off x="407368" y="404664"/>
            <a:ext cx="215900" cy="216000"/>
          </a:xfrm>
          <a:blipFill>
            <a:blip r:embed="rId2"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Tree>
    <p:extLst>
      <p:ext uri="{BB962C8B-B14F-4D97-AF65-F5344CB8AC3E}">
        <p14:creationId xmlns:p14="http://schemas.microsoft.com/office/powerpoint/2010/main" val="311208710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30000">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14:bounceEnd="30000">
                                          <p:cBhvr additive="base">
                                            <p:cTn id="7" dur="2000" fill="hold"/>
                                            <p:tgtEl>
                                              <p:spTgt spid="32"/>
                                            </p:tgtEl>
                                            <p:attrNameLst>
                                              <p:attrName>ppt_x</p:attrName>
                                            </p:attrNameLst>
                                          </p:cBhvr>
                                          <p:tavLst>
                                            <p:tav tm="0">
                                              <p:val>
                                                <p:strVal val="0-#ppt_w/2"/>
                                              </p:val>
                                            </p:tav>
                                            <p:tav tm="100000">
                                              <p:val>
                                                <p:strVal val="#ppt_x"/>
                                              </p:val>
                                            </p:tav>
                                          </p:tavLst>
                                        </p:anim>
                                        <p:anim calcmode="lin" valueType="num" p14:bounceEnd="30000">
                                          <p:cBhvr additive="base">
                                            <p:cTn id="8" dur="20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30000">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14:bounceEnd="30000">
                                          <p:cBhvr additive="base">
                                            <p:cTn id="11" dur="2500" fill="hold"/>
                                            <p:tgtEl>
                                              <p:spTgt spid="30"/>
                                            </p:tgtEl>
                                            <p:attrNameLst>
                                              <p:attrName>ppt_x</p:attrName>
                                            </p:attrNameLst>
                                          </p:cBhvr>
                                          <p:tavLst>
                                            <p:tav tm="0">
                                              <p:val>
                                                <p:strVal val="0-#ppt_w/2"/>
                                              </p:val>
                                            </p:tav>
                                            <p:tav tm="100000">
                                              <p:val>
                                                <p:strVal val="#ppt_x"/>
                                              </p:val>
                                            </p:tav>
                                          </p:tavLst>
                                        </p:anim>
                                        <p:anim calcmode="lin" valueType="num" p14:bounceEnd="30000">
                                          <p:cBhvr additive="base">
                                            <p:cTn id="12" dur="250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30000">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14:bounceEnd="30000">
                                          <p:cBhvr additive="base">
                                            <p:cTn id="15" dur="2000" fill="hold"/>
                                            <p:tgtEl>
                                              <p:spTgt spid="33"/>
                                            </p:tgtEl>
                                            <p:attrNameLst>
                                              <p:attrName>ppt_x</p:attrName>
                                            </p:attrNameLst>
                                          </p:cBhvr>
                                          <p:tavLst>
                                            <p:tav tm="0">
                                              <p:val>
                                                <p:strVal val="0-#ppt_w/2"/>
                                              </p:val>
                                            </p:tav>
                                            <p:tav tm="100000">
                                              <p:val>
                                                <p:strVal val="#ppt_x"/>
                                              </p:val>
                                            </p:tav>
                                          </p:tavLst>
                                        </p:anim>
                                        <p:anim calcmode="lin" valueType="num" p14:bounceEnd="30000">
                                          <p:cBhvr additive="base">
                                            <p:cTn id="16" dur="2000" fill="hold"/>
                                            <p:tgtEl>
                                              <p:spTgt spid="33"/>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14:presetBounceEnd="30000">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14:bounceEnd="30000">
                                          <p:cBhvr additive="base">
                                            <p:cTn id="19" dur="2500" fill="hold"/>
                                            <p:tgtEl>
                                              <p:spTgt spid="34"/>
                                            </p:tgtEl>
                                            <p:attrNameLst>
                                              <p:attrName>ppt_x</p:attrName>
                                            </p:attrNameLst>
                                          </p:cBhvr>
                                          <p:tavLst>
                                            <p:tav tm="0">
                                              <p:val>
                                                <p:strVal val="0-#ppt_w/2"/>
                                              </p:val>
                                            </p:tav>
                                            <p:tav tm="100000">
                                              <p:val>
                                                <p:strVal val="#ppt_x"/>
                                              </p:val>
                                            </p:tav>
                                          </p:tavLst>
                                        </p:anim>
                                        <p:anim calcmode="lin" valueType="num" p14:bounceEnd="30000">
                                          <p:cBhvr additive="base">
                                            <p:cTn id="20" dur="2500" fill="hold"/>
                                            <p:tgtEl>
                                              <p:spTgt spid="34"/>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14:presetBounceEnd="30000">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14:bounceEnd="30000">
                                          <p:cBhvr additive="base">
                                            <p:cTn id="23" dur="2000" fill="hold"/>
                                            <p:tgtEl>
                                              <p:spTgt spid="15"/>
                                            </p:tgtEl>
                                            <p:attrNameLst>
                                              <p:attrName>ppt_x</p:attrName>
                                            </p:attrNameLst>
                                          </p:cBhvr>
                                          <p:tavLst>
                                            <p:tav tm="0">
                                              <p:val>
                                                <p:strVal val="0-#ppt_w/2"/>
                                              </p:val>
                                            </p:tav>
                                            <p:tav tm="100000">
                                              <p:val>
                                                <p:strVal val="#ppt_x"/>
                                              </p:val>
                                            </p:tav>
                                          </p:tavLst>
                                        </p:anim>
                                        <p:anim calcmode="lin" valueType="num" p14:bounceEnd="30000">
                                          <p:cBhvr additive="base">
                                            <p:cTn id="24" dur="2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0" grpId="0" animBg="1"/>
          <p:bldP spid="30" grpId="1" animBg="1"/>
          <p:bldP spid="33" grpId="0" animBg="1"/>
          <p:bldP spid="33" grpId="1" animBg="1"/>
          <p:bldP spid="34" grpId="0" animBg="1"/>
          <p:bldP spid="34" grpId="1" animBg="1"/>
          <p:bldP spid="15" grpId="0" animBg="1"/>
          <p:bldP spid="15"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2000" fill="hold"/>
                                            <p:tgtEl>
                                              <p:spTgt spid="32"/>
                                            </p:tgtEl>
                                            <p:attrNameLst>
                                              <p:attrName>ppt_x</p:attrName>
                                            </p:attrNameLst>
                                          </p:cBhvr>
                                          <p:tavLst>
                                            <p:tav tm="0">
                                              <p:val>
                                                <p:strVal val="0-#ppt_w/2"/>
                                              </p:val>
                                            </p:tav>
                                            <p:tav tm="100000">
                                              <p:val>
                                                <p:strVal val="#ppt_x"/>
                                              </p:val>
                                            </p:tav>
                                          </p:tavLst>
                                        </p:anim>
                                        <p:anim calcmode="lin" valueType="num">
                                          <p:cBhvr additive="base">
                                            <p:cTn id="8" dur="20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2500" fill="hold"/>
                                            <p:tgtEl>
                                              <p:spTgt spid="30"/>
                                            </p:tgtEl>
                                            <p:attrNameLst>
                                              <p:attrName>ppt_x</p:attrName>
                                            </p:attrNameLst>
                                          </p:cBhvr>
                                          <p:tavLst>
                                            <p:tav tm="0">
                                              <p:val>
                                                <p:strVal val="0-#ppt_w/2"/>
                                              </p:val>
                                            </p:tav>
                                            <p:tav tm="100000">
                                              <p:val>
                                                <p:strVal val="#ppt_x"/>
                                              </p:val>
                                            </p:tav>
                                          </p:tavLst>
                                        </p:anim>
                                        <p:anim calcmode="lin" valueType="num">
                                          <p:cBhvr additive="base">
                                            <p:cTn id="12" dur="250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2000" fill="hold"/>
                                            <p:tgtEl>
                                              <p:spTgt spid="33"/>
                                            </p:tgtEl>
                                            <p:attrNameLst>
                                              <p:attrName>ppt_x</p:attrName>
                                            </p:attrNameLst>
                                          </p:cBhvr>
                                          <p:tavLst>
                                            <p:tav tm="0">
                                              <p:val>
                                                <p:strVal val="0-#ppt_w/2"/>
                                              </p:val>
                                            </p:tav>
                                            <p:tav tm="100000">
                                              <p:val>
                                                <p:strVal val="#ppt_x"/>
                                              </p:val>
                                            </p:tav>
                                          </p:tavLst>
                                        </p:anim>
                                        <p:anim calcmode="lin" valueType="num">
                                          <p:cBhvr additive="base">
                                            <p:cTn id="16" dur="2000" fill="hold"/>
                                            <p:tgtEl>
                                              <p:spTgt spid="33"/>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2500" fill="hold"/>
                                            <p:tgtEl>
                                              <p:spTgt spid="34"/>
                                            </p:tgtEl>
                                            <p:attrNameLst>
                                              <p:attrName>ppt_x</p:attrName>
                                            </p:attrNameLst>
                                          </p:cBhvr>
                                          <p:tavLst>
                                            <p:tav tm="0">
                                              <p:val>
                                                <p:strVal val="0-#ppt_w/2"/>
                                              </p:val>
                                            </p:tav>
                                            <p:tav tm="100000">
                                              <p:val>
                                                <p:strVal val="#ppt_x"/>
                                              </p:val>
                                            </p:tav>
                                          </p:tavLst>
                                        </p:anim>
                                        <p:anim calcmode="lin" valueType="num">
                                          <p:cBhvr additive="base">
                                            <p:cTn id="20" dur="2500" fill="hold"/>
                                            <p:tgtEl>
                                              <p:spTgt spid="34"/>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2000" fill="hold"/>
                                            <p:tgtEl>
                                              <p:spTgt spid="15"/>
                                            </p:tgtEl>
                                            <p:attrNameLst>
                                              <p:attrName>ppt_x</p:attrName>
                                            </p:attrNameLst>
                                          </p:cBhvr>
                                          <p:tavLst>
                                            <p:tav tm="0">
                                              <p:val>
                                                <p:strVal val="0-#ppt_w/2"/>
                                              </p:val>
                                            </p:tav>
                                            <p:tav tm="100000">
                                              <p:val>
                                                <p:strVal val="#ppt_x"/>
                                              </p:val>
                                            </p:tav>
                                          </p:tavLst>
                                        </p:anim>
                                        <p:anim calcmode="lin" valueType="num">
                                          <p:cBhvr additive="base">
                                            <p:cTn id="24" dur="2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0" grpId="0" animBg="1"/>
          <p:bldP spid="30" grpId="1" animBg="1"/>
          <p:bldP spid="33" grpId="0" animBg="1"/>
          <p:bldP spid="33" grpId="1" animBg="1"/>
          <p:bldP spid="34" grpId="0" animBg="1"/>
          <p:bldP spid="34" grpId="1" animBg="1"/>
          <p:bldP spid="15" grpId="0" animBg="1"/>
          <p:bldP spid="15" grpId="1" animBg="1"/>
        </p:bldLst>
      </p:timing>
    </mc:Fallback>
  </mc:AlternateContent>
  <p:extLst>
    <p:ext uri="{DCECCB84-F9BA-43D5-87BE-67443E8EF086}">
      <p15:sldGuideLst xmlns:p15="http://schemas.microsoft.com/office/powerpoint/2012/main">
        <p15:guide id="1" pos="5201">
          <p15:clr>
            <a:srgbClr val="FBAE40"/>
          </p15:clr>
        </p15:guide>
        <p15:guide id="2" pos="4747">
          <p15:clr>
            <a:srgbClr val="FBAE40"/>
          </p15:clr>
        </p15:guide>
        <p15:guide id="3"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pyright">
    <p:bg>
      <p:bgPr>
        <a:solidFill>
          <a:schemeClr val="accent3"/>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8636068-1D4C-4D74-93D9-04BBFE097B20}"/>
              </a:ext>
            </a:extLst>
          </p:cNvPr>
          <p:cNvSpPr/>
          <p:nvPr userDrawn="1"/>
        </p:nvSpPr>
        <p:spPr>
          <a:xfrm>
            <a:off x="407988" y="3212976"/>
            <a:ext cx="5688321"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1200"/>
              <a:t>© Copyright BayWa r.e. AG, 2024</a:t>
            </a:r>
          </a:p>
        </p:txBody>
      </p:sp>
      <p:sp>
        <p:nvSpPr>
          <p:cNvPr id="9" name="Rechteck 8">
            <a:extLst>
              <a:ext uri="{FF2B5EF4-FFF2-40B4-BE49-F238E27FC236}">
                <a16:creationId xmlns:a16="http://schemas.microsoft.com/office/drawing/2014/main" id="{181A8415-BA5D-4DCD-83D5-A1DDC11E9F7E}"/>
              </a:ext>
            </a:extLst>
          </p:cNvPr>
          <p:cNvSpPr/>
          <p:nvPr userDrawn="1"/>
        </p:nvSpPr>
        <p:spPr>
          <a:xfrm>
            <a:off x="407989" y="3645336"/>
            <a:ext cx="5688012" cy="28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lstStyle/>
          <a:p>
            <a:pPr algn="l"/>
            <a:r>
              <a:rPr lang="en-US" sz="1200"/>
              <a:t>The content of this presentation (including text, graphics, photos, tables, logos, etc.) and the presentation itself are protected by copyright. </a:t>
            </a:r>
            <a:br>
              <a:rPr lang="en-US" sz="1200"/>
            </a:br>
            <a:r>
              <a:rPr lang="en-US" sz="1200"/>
              <a:t>They were created by BayWa r.e. AG independently. </a:t>
            </a:r>
          </a:p>
          <a:p>
            <a:pPr algn="l"/>
            <a:endParaRPr lang="en-US" sz="1200"/>
          </a:p>
          <a:p>
            <a:pPr algn="l"/>
            <a:r>
              <a:rPr lang="en-US" sz="1200"/>
              <a:t>Any dissemination of the presentation and/or content or parts thereof is only permitted with written permission by BayWa r.e. Without written permission of BayWa r.e., this document and/or parts of it must not be passed on, modified, published, translated or reproduced, either by photocopies, or by others – </a:t>
            </a:r>
            <a:br>
              <a:rPr lang="en-US" sz="1200"/>
            </a:br>
            <a:r>
              <a:rPr lang="en-US" sz="1200"/>
              <a:t>in particular by electronic procedures. This reservation also extends to inclusion</a:t>
            </a:r>
            <a:br>
              <a:rPr lang="en-US" sz="1200"/>
            </a:br>
            <a:r>
              <a:rPr lang="en-US" sz="1200"/>
              <a:t>in or evaluation by databases. Infringements will be prosecuted.</a:t>
            </a:r>
          </a:p>
        </p:txBody>
      </p:sp>
      <p:sp>
        <p:nvSpPr>
          <p:cNvPr id="10" name="Rechteck 9">
            <a:extLst>
              <a:ext uri="{FF2B5EF4-FFF2-40B4-BE49-F238E27FC236}">
                <a16:creationId xmlns:a16="http://schemas.microsoft.com/office/drawing/2014/main" id="{3C4466E2-24B4-4271-B9DA-FFBB2E80FC37}"/>
              </a:ext>
            </a:extLst>
          </p:cNvPr>
          <p:cNvSpPr/>
          <p:nvPr userDrawn="1"/>
        </p:nvSpPr>
        <p:spPr>
          <a:xfrm>
            <a:off x="407368" y="2708920"/>
            <a:ext cx="113766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3600" b="1">
                <a:solidFill>
                  <a:schemeClr val="accent1"/>
                </a:solidFill>
              </a:rPr>
              <a:t>Copyright</a:t>
            </a:r>
          </a:p>
        </p:txBody>
      </p:sp>
      <p:sp>
        <p:nvSpPr>
          <p:cNvPr id="11" name="Textplatzhalter 9">
            <a:extLst>
              <a:ext uri="{FF2B5EF4-FFF2-40B4-BE49-F238E27FC236}">
                <a16:creationId xmlns:a16="http://schemas.microsoft.com/office/drawing/2014/main" id="{02722E55-A0D1-4EF4-84CF-404EBB28F6A5}"/>
              </a:ext>
            </a:extLst>
          </p:cNvPr>
          <p:cNvSpPr>
            <a:spLocks noGrp="1"/>
          </p:cNvSpPr>
          <p:nvPr>
            <p:ph type="body" sz="quarter" idx="35" hasCustomPrompt="1"/>
          </p:nvPr>
        </p:nvSpPr>
        <p:spPr bwMode="invGray">
          <a:xfrm>
            <a:off x="407368" y="404664"/>
            <a:ext cx="215900" cy="216000"/>
          </a:xfrm>
          <a:blipFill>
            <a:blip r:embed="rId2"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Tree>
    <p:extLst>
      <p:ext uri="{BB962C8B-B14F-4D97-AF65-F5344CB8AC3E}">
        <p14:creationId xmlns:p14="http://schemas.microsoft.com/office/powerpoint/2010/main" val="110262612"/>
      </p:ext>
    </p:extLst>
  </p:cSld>
  <p:clrMapOvr>
    <a:masterClrMapping/>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hree columns + pictur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A9563-9899-4D44-BBEE-E4A87B9EA199}"/>
              </a:ext>
            </a:extLst>
          </p:cNvPr>
          <p:cNvSpPr>
            <a:spLocks noGrp="1"/>
          </p:cNvSpPr>
          <p:nvPr>
            <p:ph type="title" hasCustomPrompt="1"/>
          </p:nvPr>
        </p:nvSpPr>
        <p:spPr bwMode="gray"/>
        <p:txBody>
          <a:bodyPr/>
          <a:lstStyle>
            <a:lvl1pPr>
              <a:defRPr/>
            </a:lvl1pPr>
          </a:lstStyle>
          <a:p>
            <a:r>
              <a:rPr lang="en-GB" noProof="0"/>
              <a:t>Click to add headline</a:t>
            </a:r>
          </a:p>
        </p:txBody>
      </p:sp>
      <p:sp>
        <p:nvSpPr>
          <p:cNvPr id="3" name="Inhaltsplatzhalter 2">
            <a:extLst>
              <a:ext uri="{FF2B5EF4-FFF2-40B4-BE49-F238E27FC236}">
                <a16:creationId xmlns:a16="http://schemas.microsoft.com/office/drawing/2014/main" id="{C259C112-EC0F-41F8-9E40-2EAA0699FEF3}"/>
              </a:ext>
            </a:extLst>
          </p:cNvPr>
          <p:cNvSpPr>
            <a:spLocks noGrp="1"/>
          </p:cNvSpPr>
          <p:nvPr>
            <p:ph idx="1" hasCustomPrompt="1"/>
          </p:nvPr>
        </p:nvSpPr>
        <p:spPr bwMode="gray">
          <a:xfrm>
            <a:off x="407368" y="4221328"/>
            <a:ext cx="3528000" cy="2160000"/>
          </a:xfrm>
        </p:spPr>
        <p:txBody>
          <a:bodyPr/>
          <a:lstStyle>
            <a:lvl1pPr>
              <a:defRPr>
                <a:solidFill>
                  <a:schemeClr val="tx1"/>
                </a:solidFill>
              </a:defRPr>
            </a:lvl1pPr>
            <a:lvl2pPr>
              <a:defRPr/>
            </a:lvl2pPr>
            <a:lvl3pPr>
              <a:defRPr/>
            </a:lvl3pPr>
            <a:lvl4pPr>
              <a:defRPr/>
            </a:lvl4pPr>
            <a:lvl5pPr>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Foliennummernplatzhalter 5">
            <a:extLst>
              <a:ext uri="{FF2B5EF4-FFF2-40B4-BE49-F238E27FC236}">
                <a16:creationId xmlns:a16="http://schemas.microsoft.com/office/drawing/2014/main" id="{E377CAE0-D6D7-4B1E-8520-03064F08E17C}"/>
              </a:ext>
            </a:extLst>
          </p:cNvPr>
          <p:cNvSpPr>
            <a:spLocks noGrp="1"/>
          </p:cNvSpPr>
          <p:nvPr>
            <p:ph type="sldNum" sz="quarter" idx="12"/>
          </p:nvPr>
        </p:nvSpPr>
        <p:spPr bwMode="gray"/>
        <p:txBody>
          <a:bodyPr/>
          <a:lstStyle/>
          <a:p>
            <a:fld id="{3B140A39-527A-45CF-A911-B921024B92E6}" type="slidenum">
              <a:rPr lang="en-GB" noProof="0" smtClean="0"/>
              <a:t>‹#›</a:t>
            </a:fld>
            <a:endParaRPr lang="en-GB" noProof="0"/>
          </a:p>
        </p:txBody>
      </p:sp>
      <p:sp>
        <p:nvSpPr>
          <p:cNvPr id="11" name="Inhaltsplatzhalter 2">
            <a:extLst>
              <a:ext uri="{FF2B5EF4-FFF2-40B4-BE49-F238E27FC236}">
                <a16:creationId xmlns:a16="http://schemas.microsoft.com/office/drawing/2014/main" id="{0303AFD8-5FF3-478A-90C4-E2B75445371B}"/>
              </a:ext>
            </a:extLst>
          </p:cNvPr>
          <p:cNvSpPr>
            <a:spLocks noGrp="1"/>
          </p:cNvSpPr>
          <p:nvPr>
            <p:ph idx="13" hasCustomPrompt="1"/>
          </p:nvPr>
        </p:nvSpPr>
        <p:spPr bwMode="gray">
          <a:xfrm>
            <a:off x="4296208" y="4221328"/>
            <a:ext cx="3600000" cy="2160000"/>
          </a:xfrm>
        </p:spPr>
        <p:txBody>
          <a:bodyPr/>
          <a:lstStyle>
            <a:lvl1pPr>
              <a:defRPr>
                <a:solidFill>
                  <a:schemeClr val="tx1"/>
                </a:solidFill>
              </a:defRPr>
            </a:lvl1pPr>
            <a:lvl2pPr>
              <a:defRPr/>
            </a:lvl2pPr>
            <a:lvl3pPr>
              <a:defRPr/>
            </a:lvl3pPr>
            <a:lvl4pPr>
              <a:defRPr/>
            </a:lvl4pPr>
            <a:lvl5pPr>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Inhaltsplatzhalter 2">
            <a:extLst>
              <a:ext uri="{FF2B5EF4-FFF2-40B4-BE49-F238E27FC236}">
                <a16:creationId xmlns:a16="http://schemas.microsoft.com/office/drawing/2014/main" id="{77EAB4C6-5D44-4E06-8CE0-3E354C13AD53}"/>
              </a:ext>
            </a:extLst>
          </p:cNvPr>
          <p:cNvSpPr>
            <a:spLocks noGrp="1"/>
          </p:cNvSpPr>
          <p:nvPr>
            <p:ph idx="14" hasCustomPrompt="1"/>
          </p:nvPr>
        </p:nvSpPr>
        <p:spPr bwMode="gray">
          <a:xfrm>
            <a:off x="8256588" y="4221328"/>
            <a:ext cx="3528044" cy="2160000"/>
          </a:xfrm>
        </p:spPr>
        <p:txBody>
          <a:bodyPr/>
          <a:lstStyle>
            <a:lvl1pPr>
              <a:defRPr>
                <a:solidFill>
                  <a:schemeClr val="tx1"/>
                </a:solidFill>
              </a:defRPr>
            </a:lvl1pPr>
            <a:lvl2pPr>
              <a:defRPr/>
            </a:lvl2pPr>
            <a:lvl3pPr>
              <a:defRPr/>
            </a:lvl3pPr>
            <a:lvl4pPr>
              <a:defRPr/>
            </a:lvl4pPr>
            <a:lvl5pPr>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Bildplatzhalter 26">
            <a:extLst>
              <a:ext uri="{FF2B5EF4-FFF2-40B4-BE49-F238E27FC236}">
                <a16:creationId xmlns:a16="http://schemas.microsoft.com/office/drawing/2014/main" id="{A31A76E7-8A08-4835-9BB3-DD76DA583825}"/>
              </a:ext>
            </a:extLst>
          </p:cNvPr>
          <p:cNvSpPr>
            <a:spLocks noGrp="1"/>
          </p:cNvSpPr>
          <p:nvPr>
            <p:ph type="pic" sz="quarter" idx="10" hasCustomPrompt="1"/>
          </p:nvPr>
        </p:nvSpPr>
        <p:spPr bwMode="gray">
          <a:xfrm>
            <a:off x="407368" y="1557033"/>
            <a:ext cx="3528000" cy="2520000"/>
          </a:xfrm>
          <a:solidFill>
            <a:schemeClr val="accent3"/>
          </a:solidFill>
        </p:spPr>
        <p:txBody>
          <a:bodyPr tIns="144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GB" noProof="0"/>
              <a:t>To add a picture click the icon</a:t>
            </a:r>
          </a:p>
        </p:txBody>
      </p:sp>
      <p:sp>
        <p:nvSpPr>
          <p:cNvPr id="7" name="Textplatzhalter 6">
            <a:extLst>
              <a:ext uri="{FF2B5EF4-FFF2-40B4-BE49-F238E27FC236}">
                <a16:creationId xmlns:a16="http://schemas.microsoft.com/office/drawing/2014/main" id="{D4CDBF24-5390-4A68-BA81-F1A3A4A4EA1D}"/>
              </a:ext>
            </a:extLst>
          </p:cNvPr>
          <p:cNvSpPr>
            <a:spLocks noGrp="1"/>
          </p:cNvSpPr>
          <p:nvPr>
            <p:ph type="body" sz="quarter" idx="17" hasCustomPrompt="1"/>
          </p:nvPr>
        </p:nvSpPr>
        <p:spPr bwMode="gray">
          <a:xfrm>
            <a:off x="407368" y="1557032"/>
            <a:ext cx="647389" cy="2520000"/>
          </a:xfrm>
          <a:solidFill>
            <a:schemeClr val="accent1"/>
          </a:solidFill>
        </p:spPr>
        <p:txBody>
          <a:bodyPr/>
          <a:lstStyle>
            <a:lvl1pPr>
              <a:defRPr/>
            </a:lvl1pPr>
          </a:lstStyle>
          <a:p>
            <a:pPr lvl="0"/>
            <a:r>
              <a:rPr lang="en-GB" noProof="0"/>
              <a:t>  </a:t>
            </a:r>
          </a:p>
        </p:txBody>
      </p:sp>
      <p:sp>
        <p:nvSpPr>
          <p:cNvPr id="20" name="Textplatzhalter 19">
            <a:extLst>
              <a:ext uri="{FF2B5EF4-FFF2-40B4-BE49-F238E27FC236}">
                <a16:creationId xmlns:a16="http://schemas.microsoft.com/office/drawing/2014/main" id="{12E1E28A-E2C5-431B-9D97-9E427B33736F}"/>
              </a:ext>
            </a:extLst>
          </p:cNvPr>
          <p:cNvSpPr>
            <a:spLocks noGrp="1"/>
          </p:cNvSpPr>
          <p:nvPr>
            <p:ph type="body" sz="quarter" idx="25" hasCustomPrompt="1"/>
          </p:nvPr>
        </p:nvSpPr>
        <p:spPr bwMode="gray">
          <a:xfrm>
            <a:off x="1055680" y="1557032"/>
            <a:ext cx="360000" cy="252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GB" noProof="0"/>
              <a:t> </a:t>
            </a:r>
          </a:p>
        </p:txBody>
      </p:sp>
      <p:sp>
        <p:nvSpPr>
          <p:cNvPr id="21" name="Textplatzhalter 20">
            <a:extLst>
              <a:ext uri="{FF2B5EF4-FFF2-40B4-BE49-F238E27FC236}">
                <a16:creationId xmlns:a16="http://schemas.microsoft.com/office/drawing/2014/main" id="{1A345EC7-DDC4-4BBD-801A-B4E5E6FA272C}"/>
              </a:ext>
            </a:extLst>
          </p:cNvPr>
          <p:cNvSpPr>
            <a:spLocks noGrp="1"/>
          </p:cNvSpPr>
          <p:nvPr>
            <p:ph type="body" sz="quarter" idx="26" hasCustomPrompt="1"/>
          </p:nvPr>
        </p:nvSpPr>
        <p:spPr bwMode="gray">
          <a:xfrm>
            <a:off x="1055680" y="1557033"/>
            <a:ext cx="360000" cy="252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GB" noProof="0"/>
              <a:t>  </a:t>
            </a:r>
          </a:p>
        </p:txBody>
      </p:sp>
      <p:sp>
        <p:nvSpPr>
          <p:cNvPr id="17" name="Textplatzhalter 16">
            <a:extLst>
              <a:ext uri="{FF2B5EF4-FFF2-40B4-BE49-F238E27FC236}">
                <a16:creationId xmlns:a16="http://schemas.microsoft.com/office/drawing/2014/main" id="{3399AB04-C995-406D-8DB4-C48AFE53B82B}"/>
              </a:ext>
            </a:extLst>
          </p:cNvPr>
          <p:cNvSpPr>
            <a:spLocks noGrp="1"/>
          </p:cNvSpPr>
          <p:nvPr>
            <p:ph type="body" sz="quarter" idx="20" hasCustomPrompt="1"/>
          </p:nvPr>
        </p:nvSpPr>
        <p:spPr bwMode="gray">
          <a:xfrm>
            <a:off x="407988" y="3501304"/>
            <a:ext cx="3528000" cy="504000"/>
          </a:xfrm>
        </p:spPr>
        <p:txBody>
          <a:bodyPr lIns="108000" tIns="72000" rIns="108000" bIns="72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GB" noProof="0"/>
              <a:t>Click to add text</a:t>
            </a:r>
          </a:p>
        </p:txBody>
      </p:sp>
      <p:sp>
        <p:nvSpPr>
          <p:cNvPr id="22" name="Bildplatzhalter 26">
            <a:extLst>
              <a:ext uri="{FF2B5EF4-FFF2-40B4-BE49-F238E27FC236}">
                <a16:creationId xmlns:a16="http://schemas.microsoft.com/office/drawing/2014/main" id="{BDB8699D-2779-445A-AD00-86BCF020EA67}"/>
              </a:ext>
            </a:extLst>
          </p:cNvPr>
          <p:cNvSpPr>
            <a:spLocks noGrp="1"/>
          </p:cNvSpPr>
          <p:nvPr>
            <p:ph type="pic" sz="quarter" idx="27" hasCustomPrompt="1"/>
          </p:nvPr>
        </p:nvSpPr>
        <p:spPr bwMode="gray">
          <a:xfrm>
            <a:off x="4296216" y="1557032"/>
            <a:ext cx="3600000" cy="2520000"/>
          </a:xfrm>
          <a:solidFill>
            <a:schemeClr val="accent3"/>
          </a:solidFill>
        </p:spPr>
        <p:txBody>
          <a:bodyPr tIns="144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GB" noProof="0"/>
              <a:t>To add a picture click the icon</a:t>
            </a:r>
          </a:p>
        </p:txBody>
      </p:sp>
      <p:sp>
        <p:nvSpPr>
          <p:cNvPr id="23" name="Textplatzhalter 6">
            <a:extLst>
              <a:ext uri="{FF2B5EF4-FFF2-40B4-BE49-F238E27FC236}">
                <a16:creationId xmlns:a16="http://schemas.microsoft.com/office/drawing/2014/main" id="{355960B4-F763-4BC9-B03E-9B8DE0C4E97B}"/>
              </a:ext>
            </a:extLst>
          </p:cNvPr>
          <p:cNvSpPr>
            <a:spLocks noGrp="1"/>
          </p:cNvSpPr>
          <p:nvPr>
            <p:ph type="body" sz="quarter" idx="28" hasCustomPrompt="1"/>
          </p:nvPr>
        </p:nvSpPr>
        <p:spPr bwMode="gray">
          <a:xfrm>
            <a:off x="4296216" y="1557031"/>
            <a:ext cx="647389" cy="2520000"/>
          </a:xfrm>
          <a:solidFill>
            <a:schemeClr val="accent1"/>
          </a:solidFill>
        </p:spPr>
        <p:txBody>
          <a:bodyPr/>
          <a:lstStyle>
            <a:lvl1pPr>
              <a:defRPr/>
            </a:lvl1pPr>
          </a:lstStyle>
          <a:p>
            <a:pPr lvl="0"/>
            <a:r>
              <a:rPr lang="en-GB" noProof="0"/>
              <a:t>  </a:t>
            </a:r>
          </a:p>
        </p:txBody>
      </p:sp>
      <p:sp>
        <p:nvSpPr>
          <p:cNvPr id="24" name="Textplatzhalter 23">
            <a:extLst>
              <a:ext uri="{FF2B5EF4-FFF2-40B4-BE49-F238E27FC236}">
                <a16:creationId xmlns:a16="http://schemas.microsoft.com/office/drawing/2014/main" id="{B3885E46-5D2A-4373-92BA-8ADD2730830F}"/>
              </a:ext>
            </a:extLst>
          </p:cNvPr>
          <p:cNvSpPr>
            <a:spLocks noGrp="1"/>
          </p:cNvSpPr>
          <p:nvPr>
            <p:ph type="body" sz="quarter" idx="29" hasCustomPrompt="1"/>
          </p:nvPr>
        </p:nvSpPr>
        <p:spPr bwMode="gray">
          <a:xfrm>
            <a:off x="4944528" y="1557031"/>
            <a:ext cx="360000" cy="252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GB" noProof="0"/>
              <a:t> </a:t>
            </a:r>
          </a:p>
        </p:txBody>
      </p:sp>
      <p:sp>
        <p:nvSpPr>
          <p:cNvPr id="25" name="Textplatzhalter 24">
            <a:extLst>
              <a:ext uri="{FF2B5EF4-FFF2-40B4-BE49-F238E27FC236}">
                <a16:creationId xmlns:a16="http://schemas.microsoft.com/office/drawing/2014/main" id="{639D2DE5-0E64-4D3D-8114-68EE7A938730}"/>
              </a:ext>
            </a:extLst>
          </p:cNvPr>
          <p:cNvSpPr>
            <a:spLocks noGrp="1"/>
          </p:cNvSpPr>
          <p:nvPr>
            <p:ph type="body" sz="quarter" idx="30" hasCustomPrompt="1"/>
          </p:nvPr>
        </p:nvSpPr>
        <p:spPr bwMode="gray">
          <a:xfrm>
            <a:off x="4944528" y="1557032"/>
            <a:ext cx="360000" cy="252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GB" noProof="0"/>
              <a:t>  </a:t>
            </a:r>
          </a:p>
        </p:txBody>
      </p:sp>
      <p:sp>
        <p:nvSpPr>
          <p:cNvPr id="26" name="Textplatzhalter 16">
            <a:extLst>
              <a:ext uri="{FF2B5EF4-FFF2-40B4-BE49-F238E27FC236}">
                <a16:creationId xmlns:a16="http://schemas.microsoft.com/office/drawing/2014/main" id="{9DFBC0CB-6FE8-49D0-AE32-4AC45A962D97}"/>
              </a:ext>
            </a:extLst>
          </p:cNvPr>
          <p:cNvSpPr>
            <a:spLocks noGrp="1"/>
          </p:cNvSpPr>
          <p:nvPr>
            <p:ph type="body" sz="quarter" idx="31" hasCustomPrompt="1"/>
          </p:nvPr>
        </p:nvSpPr>
        <p:spPr bwMode="gray">
          <a:xfrm>
            <a:off x="4296836" y="3501304"/>
            <a:ext cx="3600000" cy="504000"/>
          </a:xfrm>
        </p:spPr>
        <p:txBody>
          <a:bodyPr lIns="108000" tIns="72000" rIns="108000" bIns="72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GB" noProof="0"/>
              <a:t>Click to add text</a:t>
            </a:r>
          </a:p>
        </p:txBody>
      </p:sp>
      <p:sp>
        <p:nvSpPr>
          <p:cNvPr id="27" name="Bildplatzhalter 26">
            <a:extLst>
              <a:ext uri="{FF2B5EF4-FFF2-40B4-BE49-F238E27FC236}">
                <a16:creationId xmlns:a16="http://schemas.microsoft.com/office/drawing/2014/main" id="{972C4A7C-0C18-4AA1-AC9C-BDAC2FEC3339}"/>
              </a:ext>
            </a:extLst>
          </p:cNvPr>
          <p:cNvSpPr>
            <a:spLocks noGrp="1"/>
          </p:cNvSpPr>
          <p:nvPr>
            <p:ph type="pic" sz="quarter" idx="32" hasCustomPrompt="1"/>
          </p:nvPr>
        </p:nvSpPr>
        <p:spPr bwMode="gray">
          <a:xfrm>
            <a:off x="8256240" y="1557032"/>
            <a:ext cx="3528000" cy="2520000"/>
          </a:xfrm>
          <a:solidFill>
            <a:schemeClr val="accent3"/>
          </a:solidFill>
        </p:spPr>
        <p:txBody>
          <a:bodyPr tIns="1440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GB" noProof="0"/>
              <a:t>To add a picture click the icon</a:t>
            </a:r>
          </a:p>
        </p:txBody>
      </p:sp>
      <p:sp>
        <p:nvSpPr>
          <p:cNvPr id="28" name="Textplatzhalter 6">
            <a:extLst>
              <a:ext uri="{FF2B5EF4-FFF2-40B4-BE49-F238E27FC236}">
                <a16:creationId xmlns:a16="http://schemas.microsoft.com/office/drawing/2014/main" id="{4B80ABB8-64AF-42BC-8032-58D1A9B2BF2F}"/>
              </a:ext>
            </a:extLst>
          </p:cNvPr>
          <p:cNvSpPr>
            <a:spLocks noGrp="1"/>
          </p:cNvSpPr>
          <p:nvPr>
            <p:ph type="body" sz="quarter" idx="33" hasCustomPrompt="1"/>
          </p:nvPr>
        </p:nvSpPr>
        <p:spPr bwMode="gray">
          <a:xfrm>
            <a:off x="8256240" y="1557032"/>
            <a:ext cx="648000" cy="2520000"/>
          </a:xfrm>
          <a:solidFill>
            <a:schemeClr val="accent1"/>
          </a:solidFill>
        </p:spPr>
        <p:txBody>
          <a:bodyPr/>
          <a:lstStyle>
            <a:lvl1pPr>
              <a:defRPr/>
            </a:lvl1pPr>
          </a:lstStyle>
          <a:p>
            <a:pPr lvl="0"/>
            <a:r>
              <a:rPr lang="en-GB" noProof="0"/>
              <a:t>  </a:t>
            </a:r>
          </a:p>
        </p:txBody>
      </p:sp>
      <p:sp>
        <p:nvSpPr>
          <p:cNvPr id="29" name="Textplatzhalter 28">
            <a:extLst>
              <a:ext uri="{FF2B5EF4-FFF2-40B4-BE49-F238E27FC236}">
                <a16:creationId xmlns:a16="http://schemas.microsoft.com/office/drawing/2014/main" id="{A441B42D-15C6-4193-9FD0-DBA82597C566}"/>
              </a:ext>
            </a:extLst>
          </p:cNvPr>
          <p:cNvSpPr>
            <a:spLocks noGrp="1"/>
          </p:cNvSpPr>
          <p:nvPr>
            <p:ph type="body" sz="quarter" idx="34" hasCustomPrompt="1"/>
          </p:nvPr>
        </p:nvSpPr>
        <p:spPr bwMode="gray">
          <a:xfrm>
            <a:off x="8904352" y="1557032"/>
            <a:ext cx="360000" cy="2520000"/>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66000"/>
            </a:schemeClr>
          </a:solidFill>
        </p:spPr>
        <p:txBody>
          <a:bodyPr wrap="square">
            <a:noAutofit/>
          </a:bodyPr>
          <a:lstStyle>
            <a:lvl1pPr>
              <a:defRPr/>
            </a:lvl1pPr>
          </a:lstStyle>
          <a:p>
            <a:pPr lvl="0"/>
            <a:r>
              <a:rPr lang="en-GB" noProof="0"/>
              <a:t> </a:t>
            </a:r>
          </a:p>
        </p:txBody>
      </p:sp>
      <p:sp>
        <p:nvSpPr>
          <p:cNvPr id="30" name="Textplatzhalter 29">
            <a:extLst>
              <a:ext uri="{FF2B5EF4-FFF2-40B4-BE49-F238E27FC236}">
                <a16:creationId xmlns:a16="http://schemas.microsoft.com/office/drawing/2014/main" id="{7786CB21-3C4B-492B-B4C9-E3159217FC9A}"/>
              </a:ext>
            </a:extLst>
          </p:cNvPr>
          <p:cNvSpPr>
            <a:spLocks noGrp="1"/>
          </p:cNvSpPr>
          <p:nvPr>
            <p:ph type="body" sz="quarter" idx="35" hasCustomPrompt="1"/>
          </p:nvPr>
        </p:nvSpPr>
        <p:spPr bwMode="gray">
          <a:xfrm>
            <a:off x="8904312" y="1557032"/>
            <a:ext cx="360000" cy="252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33000"/>
            </a:schemeClr>
          </a:solidFill>
        </p:spPr>
        <p:txBody>
          <a:bodyPr wrap="square">
            <a:noAutofit/>
          </a:bodyPr>
          <a:lstStyle>
            <a:lvl1pPr>
              <a:defRPr/>
            </a:lvl1pPr>
          </a:lstStyle>
          <a:p>
            <a:pPr lvl="0"/>
            <a:r>
              <a:rPr lang="en-GB" noProof="0"/>
              <a:t>  </a:t>
            </a:r>
          </a:p>
        </p:txBody>
      </p:sp>
      <p:sp>
        <p:nvSpPr>
          <p:cNvPr id="31" name="Textplatzhalter 16">
            <a:extLst>
              <a:ext uri="{FF2B5EF4-FFF2-40B4-BE49-F238E27FC236}">
                <a16:creationId xmlns:a16="http://schemas.microsoft.com/office/drawing/2014/main" id="{04DBD1DA-208B-4A2B-9235-91AA274863CA}"/>
              </a:ext>
            </a:extLst>
          </p:cNvPr>
          <p:cNvSpPr>
            <a:spLocks noGrp="1"/>
          </p:cNvSpPr>
          <p:nvPr>
            <p:ph type="body" sz="quarter" idx="36" hasCustomPrompt="1"/>
          </p:nvPr>
        </p:nvSpPr>
        <p:spPr bwMode="gray">
          <a:xfrm>
            <a:off x="8256761" y="3501304"/>
            <a:ext cx="3528000" cy="504000"/>
          </a:xfrm>
        </p:spPr>
        <p:txBody>
          <a:bodyPr lIns="108000" tIns="72000" rIns="108000" bIns="72000" anchor="b"/>
          <a:lstStyle>
            <a:lvl1pPr marL="0" indent="0" algn="l">
              <a:spcBef>
                <a:spcPts val="0"/>
              </a:spcBef>
              <a:spcAft>
                <a:spcPts val="0"/>
              </a:spcAft>
              <a:buFont typeface="Arial" panose="020B0604020202020204" pitchFamily="34" charset="0"/>
              <a:buNone/>
              <a:defRPr sz="2100" b="1">
                <a:solidFill>
                  <a:schemeClr val="bg1"/>
                </a:solidFill>
              </a:defRPr>
            </a:lvl1pPr>
            <a:lvl2pPr marL="0" indent="0" algn="l">
              <a:spcBef>
                <a:spcPts val="0"/>
              </a:spcBef>
              <a:spcAft>
                <a:spcPts val="0"/>
              </a:spcAft>
              <a:buFont typeface="Arial" panose="020B0604020202020204" pitchFamily="34" charset="0"/>
              <a:buNone/>
              <a:defRPr sz="2100" b="1">
                <a:solidFill>
                  <a:schemeClr val="bg1"/>
                </a:solidFill>
              </a:defRPr>
            </a:lvl2pPr>
            <a:lvl3pPr marL="0" indent="0" algn="l">
              <a:spcBef>
                <a:spcPts val="0"/>
              </a:spcBef>
              <a:spcAft>
                <a:spcPts val="0"/>
              </a:spcAft>
              <a:buNone/>
              <a:defRPr sz="2100" b="1">
                <a:solidFill>
                  <a:schemeClr val="bg1"/>
                </a:solidFill>
              </a:defRPr>
            </a:lvl3pPr>
            <a:lvl4pPr marL="0" indent="0" algn="l">
              <a:spcBef>
                <a:spcPts val="0"/>
              </a:spcBef>
              <a:spcAft>
                <a:spcPts val="0"/>
              </a:spcAft>
              <a:buNone/>
              <a:defRPr sz="2100" b="1">
                <a:solidFill>
                  <a:schemeClr val="bg1"/>
                </a:solidFill>
              </a:defRPr>
            </a:lvl4pPr>
            <a:lvl5pPr marL="0" indent="0" algn="l">
              <a:spcBef>
                <a:spcPts val="0"/>
              </a:spcBef>
              <a:spcAft>
                <a:spcPts val="0"/>
              </a:spcAft>
              <a:buNone/>
              <a:defRPr sz="2100" b="1">
                <a:solidFill>
                  <a:schemeClr val="bg1"/>
                </a:solidFill>
              </a:defRPr>
            </a:lvl5pPr>
            <a:lvl6pPr marL="0" indent="0">
              <a:spcBef>
                <a:spcPts val="0"/>
              </a:spcBef>
              <a:spcAft>
                <a:spcPts val="0"/>
              </a:spcAft>
              <a:buNone/>
              <a:defRPr sz="2100" b="1">
                <a:solidFill>
                  <a:schemeClr val="bg1"/>
                </a:solidFill>
              </a:defRPr>
            </a:lvl6pPr>
            <a:lvl7pPr marL="0" indent="0">
              <a:spcBef>
                <a:spcPts val="0"/>
              </a:spcBef>
              <a:spcAft>
                <a:spcPts val="0"/>
              </a:spcAft>
              <a:buNone/>
              <a:defRPr sz="2100" b="1">
                <a:solidFill>
                  <a:schemeClr val="bg1"/>
                </a:solidFill>
              </a:defRPr>
            </a:lvl7pPr>
            <a:lvl8pPr marL="0" indent="0">
              <a:spcBef>
                <a:spcPts val="0"/>
              </a:spcBef>
              <a:spcAft>
                <a:spcPts val="0"/>
              </a:spcAft>
              <a:buNone/>
              <a:defRPr sz="2100" b="1">
                <a:solidFill>
                  <a:schemeClr val="bg1"/>
                </a:solidFill>
              </a:defRPr>
            </a:lvl8pPr>
            <a:lvl9pPr marL="0" indent="0">
              <a:spcBef>
                <a:spcPts val="0"/>
              </a:spcBef>
              <a:spcAft>
                <a:spcPts val="0"/>
              </a:spcAft>
              <a:buNone/>
              <a:defRPr sz="2100" b="1">
                <a:solidFill>
                  <a:schemeClr val="bg1"/>
                </a:solidFill>
              </a:defRPr>
            </a:lvl9pPr>
          </a:lstStyle>
          <a:p>
            <a:pPr lvl="0"/>
            <a:r>
              <a:rPr lang="en-GB" noProof="0"/>
              <a:t>Click to add text</a:t>
            </a:r>
          </a:p>
        </p:txBody>
      </p:sp>
      <p:sp>
        <p:nvSpPr>
          <p:cNvPr id="4" name="Fußzeilenplatzhalter 3">
            <a:extLst>
              <a:ext uri="{FF2B5EF4-FFF2-40B4-BE49-F238E27FC236}">
                <a16:creationId xmlns:a16="http://schemas.microsoft.com/office/drawing/2014/main" id="{1082493A-796E-44DD-9F72-6717EB7E3E86}"/>
              </a:ext>
            </a:extLst>
          </p:cNvPr>
          <p:cNvSpPr>
            <a:spLocks noGrp="1"/>
          </p:cNvSpPr>
          <p:nvPr>
            <p:ph type="ftr" sz="quarter" idx="37"/>
          </p:nvPr>
        </p:nvSpPr>
        <p:spPr bwMode="gray"/>
        <p:txBody>
          <a:bodyPr/>
          <a:lstStyle/>
          <a:p>
            <a:r>
              <a:rPr lang="en-GB"/>
              <a:t>Reliable Floating-PV from BayWa r.e.</a:t>
            </a:r>
          </a:p>
        </p:txBody>
      </p:sp>
      <p:sp>
        <p:nvSpPr>
          <p:cNvPr id="32" name="Rechteck 31">
            <a:extLst>
              <a:ext uri="{FF2B5EF4-FFF2-40B4-BE49-F238E27FC236}">
                <a16:creationId xmlns:a16="http://schemas.microsoft.com/office/drawing/2014/main" id="{DBA536E2-E88D-4392-BE87-617217DAECCC}"/>
              </a:ext>
            </a:extLst>
          </p:cNvPr>
          <p:cNvSpPr/>
          <p:nvPr userDrawn="1"/>
        </p:nvSpPr>
        <p:spPr bwMode="gray">
          <a:xfrm>
            <a:off x="12316070" y="1556792"/>
            <a:ext cx="1548000" cy="20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GB" sz="1000" b="1">
                <a:solidFill>
                  <a:schemeClr val="tx1"/>
                </a:solidFill>
              </a:rPr>
              <a:t>Remark:</a:t>
            </a:r>
          </a:p>
          <a:p>
            <a:pPr algn="l"/>
            <a:r>
              <a:rPr lang="en-GB" sz="1000" b="0">
                <a:solidFill>
                  <a:schemeClr val="tx1"/>
                </a:solidFill>
              </a:rPr>
              <a:t>Each text placeholder contains different text levels. Please click in front of the respective text and then on the "start" tab. In the section "paragraph" you will find the following character to increase or decrease</a:t>
            </a:r>
            <a:br>
              <a:rPr lang="en-GB" sz="1000" b="0">
                <a:solidFill>
                  <a:schemeClr val="tx1"/>
                </a:solidFill>
              </a:rPr>
            </a:br>
            <a:r>
              <a:rPr lang="en-GB" sz="1000" b="0">
                <a:solidFill>
                  <a:schemeClr val="tx1"/>
                </a:solidFill>
              </a:rPr>
              <a:t>the list level:</a:t>
            </a:r>
          </a:p>
        </p:txBody>
      </p:sp>
      <p:pic>
        <p:nvPicPr>
          <p:cNvPr id="34" name="Grafik 33">
            <a:extLst>
              <a:ext uri="{FF2B5EF4-FFF2-40B4-BE49-F238E27FC236}">
                <a16:creationId xmlns:a16="http://schemas.microsoft.com/office/drawing/2014/main" id="{EB3D9CCB-E444-4A2E-8A4C-ADD8ABCA3DA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gray">
          <a:xfrm>
            <a:off x="12432704" y="3356992"/>
            <a:ext cx="476316" cy="228632"/>
          </a:xfrm>
          <a:prstGeom prst="rect">
            <a:avLst/>
          </a:prstGeom>
        </p:spPr>
      </p:pic>
    </p:spTree>
    <p:extLst>
      <p:ext uri="{BB962C8B-B14F-4D97-AF65-F5344CB8AC3E}">
        <p14:creationId xmlns:p14="http://schemas.microsoft.com/office/powerpoint/2010/main" val="604445007"/>
      </p:ext>
    </p:extLst>
  </p:cSld>
  <p:clrMapOvr>
    <a:masterClrMapping/>
  </p:clrMapOvr>
  <p:extLst>
    <p:ext uri="{DCECCB84-F9BA-43D5-87BE-67443E8EF086}">
      <p15:sldGuideLst xmlns:p15="http://schemas.microsoft.com/office/powerpoint/2012/main">
        <p15:guide id="3" pos="2479">
          <p15:clr>
            <a:srgbClr val="FBAE40"/>
          </p15:clr>
        </p15:guide>
        <p15:guide id="4" pos="2706">
          <p15:clr>
            <a:srgbClr val="FBAE40"/>
          </p15:clr>
        </p15:guide>
        <p15:guide id="5" pos="4974">
          <p15:clr>
            <a:srgbClr val="FBAE40"/>
          </p15:clr>
        </p15:guide>
        <p15:guide id="6" pos="52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hort agenda 3 points">
    <p:bg>
      <p:bgPr>
        <a:solidFill>
          <a:schemeClr val="bg1"/>
        </a:solidFill>
        <a:effectLst/>
      </p:bgPr>
    </p:bg>
    <p:spTree>
      <p:nvGrpSpPr>
        <p:cNvPr id="1" name=""/>
        <p:cNvGrpSpPr/>
        <p:nvPr/>
      </p:nvGrpSpPr>
      <p:grpSpPr>
        <a:xfrm>
          <a:off x="0" y="0"/>
          <a:ext cx="0" cy="0"/>
          <a:chOff x="0" y="0"/>
          <a:chExt cx="0" cy="0"/>
        </a:xfrm>
      </p:grpSpPr>
      <p:sp>
        <p:nvSpPr>
          <p:cNvPr id="16" name="Bildplatzhalter 26">
            <a:extLst>
              <a:ext uri="{FF2B5EF4-FFF2-40B4-BE49-F238E27FC236}">
                <a16:creationId xmlns:a16="http://schemas.microsoft.com/office/drawing/2014/main" id="{895E292B-1E72-4D07-8111-9243F2290743}"/>
              </a:ext>
            </a:extLst>
          </p:cNvPr>
          <p:cNvSpPr>
            <a:spLocks noGrp="1"/>
          </p:cNvSpPr>
          <p:nvPr>
            <p:ph type="pic" sz="quarter" idx="10" hasCustomPrompt="1"/>
          </p:nvPr>
        </p:nvSpPr>
        <p:spPr bwMode="gray">
          <a:xfrm>
            <a:off x="5256000" y="0"/>
            <a:ext cx="6936001" cy="2780616"/>
          </a:xfrm>
          <a:solidFill>
            <a:schemeClr val="accent3"/>
          </a:solidFill>
        </p:spPr>
        <p:txBody>
          <a:bodyPr tIns="1584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Optional: To add a picture click the icon</a:t>
            </a:r>
          </a:p>
        </p:txBody>
      </p:sp>
      <p:sp>
        <p:nvSpPr>
          <p:cNvPr id="17" name="Textplatzhalter 28">
            <a:extLst>
              <a:ext uri="{FF2B5EF4-FFF2-40B4-BE49-F238E27FC236}">
                <a16:creationId xmlns:a16="http://schemas.microsoft.com/office/drawing/2014/main" id="{62068FD8-CDDA-4EED-9350-43FC4A20CEF2}"/>
              </a:ext>
            </a:extLst>
          </p:cNvPr>
          <p:cNvSpPr>
            <a:spLocks noGrp="1"/>
          </p:cNvSpPr>
          <p:nvPr>
            <p:ph type="body" sz="quarter" idx="25" hasCustomPrompt="1"/>
          </p:nvPr>
        </p:nvSpPr>
        <p:spPr bwMode="gray">
          <a:xfrm>
            <a:off x="5231904" y="-1"/>
            <a:ext cx="2159370" cy="2780617"/>
          </a:xfrm>
          <a:custGeom>
            <a:avLst/>
            <a:gdLst>
              <a:gd name="connsiteX0" fmla="*/ 0 w 1224000"/>
              <a:gd name="connsiteY0" fmla="*/ 0 h 6872288"/>
              <a:gd name="connsiteX1" fmla="*/ 1224000 w 1224000"/>
              <a:gd name="connsiteY1" fmla="*/ 0 h 6872288"/>
              <a:gd name="connsiteX2" fmla="*/ 1224000 w 1224000"/>
              <a:gd name="connsiteY2" fmla="*/ 6 h 6872288"/>
              <a:gd name="connsiteX3" fmla="*/ 1 w 1224000"/>
              <a:gd name="connsiteY3" fmla="*/ 6872288 h 6872288"/>
              <a:gd name="connsiteX4" fmla="*/ 0 w 1224000"/>
              <a:gd name="connsiteY4" fmla="*/ 6872288 h 6872288"/>
              <a:gd name="connsiteX0" fmla="*/ 2444517 w 3668517"/>
              <a:gd name="connsiteY0" fmla="*/ 0 h 7053344"/>
              <a:gd name="connsiteX1" fmla="*/ 3668517 w 3668517"/>
              <a:gd name="connsiteY1" fmla="*/ 0 h 7053344"/>
              <a:gd name="connsiteX2" fmla="*/ 3668517 w 3668517"/>
              <a:gd name="connsiteY2" fmla="*/ 6 h 7053344"/>
              <a:gd name="connsiteX3" fmla="*/ 2444518 w 3668517"/>
              <a:gd name="connsiteY3" fmla="*/ 6872288 h 7053344"/>
              <a:gd name="connsiteX4" fmla="*/ 2444517 w 3668517"/>
              <a:gd name="connsiteY4" fmla="*/ 6872288 h 7053344"/>
              <a:gd name="connsiteX5" fmla="*/ 0 w 3668517"/>
              <a:gd name="connsiteY5" fmla="*/ 6896100 h 7053344"/>
              <a:gd name="connsiteX6" fmla="*/ 2444517 w 3668517"/>
              <a:gd name="connsiteY6" fmla="*/ 0 h 7053344"/>
              <a:gd name="connsiteX0" fmla="*/ 0 w 3671134"/>
              <a:gd name="connsiteY0" fmla="*/ 0 h 7053344"/>
              <a:gd name="connsiteX1" fmla="*/ 3671134 w 3671134"/>
              <a:gd name="connsiteY1" fmla="*/ 0 h 7053344"/>
              <a:gd name="connsiteX2" fmla="*/ 3671134 w 3671134"/>
              <a:gd name="connsiteY2" fmla="*/ 6 h 7053344"/>
              <a:gd name="connsiteX3" fmla="*/ 2447135 w 3671134"/>
              <a:gd name="connsiteY3" fmla="*/ 6872288 h 7053344"/>
              <a:gd name="connsiteX4" fmla="*/ 2447134 w 3671134"/>
              <a:gd name="connsiteY4" fmla="*/ 6872288 h 7053344"/>
              <a:gd name="connsiteX5" fmla="*/ 2617 w 3671134"/>
              <a:gd name="connsiteY5" fmla="*/ 6896100 h 7053344"/>
              <a:gd name="connsiteX6" fmla="*/ 0 w 3671134"/>
              <a:gd name="connsiteY6" fmla="*/ 0 h 7053344"/>
              <a:gd name="connsiteX0" fmla="*/ 0 w 3671134"/>
              <a:gd name="connsiteY0" fmla="*/ 0 h 7136652"/>
              <a:gd name="connsiteX1" fmla="*/ 3671134 w 3671134"/>
              <a:gd name="connsiteY1" fmla="*/ 0 h 7136652"/>
              <a:gd name="connsiteX2" fmla="*/ 3671134 w 3671134"/>
              <a:gd name="connsiteY2" fmla="*/ 6 h 7136652"/>
              <a:gd name="connsiteX3" fmla="*/ 2447135 w 3671134"/>
              <a:gd name="connsiteY3" fmla="*/ 6872288 h 7136652"/>
              <a:gd name="connsiteX4" fmla="*/ 2447134 w 3671134"/>
              <a:gd name="connsiteY4" fmla="*/ 6872288 h 7136652"/>
              <a:gd name="connsiteX5" fmla="*/ 2617 w 3671134"/>
              <a:gd name="connsiteY5" fmla="*/ 6896100 h 7136652"/>
              <a:gd name="connsiteX6" fmla="*/ 0 w 3671134"/>
              <a:gd name="connsiteY6" fmla="*/ 0 h 7136652"/>
              <a:gd name="connsiteX0" fmla="*/ 2898 w 3674032"/>
              <a:gd name="connsiteY0" fmla="*/ 0 h 7106038"/>
              <a:gd name="connsiteX1" fmla="*/ 3674032 w 3674032"/>
              <a:gd name="connsiteY1" fmla="*/ 0 h 7106038"/>
              <a:gd name="connsiteX2" fmla="*/ 3674032 w 3674032"/>
              <a:gd name="connsiteY2" fmla="*/ 6 h 7106038"/>
              <a:gd name="connsiteX3" fmla="*/ 2450033 w 3674032"/>
              <a:gd name="connsiteY3" fmla="*/ 6872288 h 7106038"/>
              <a:gd name="connsiteX4" fmla="*/ 2450032 w 3674032"/>
              <a:gd name="connsiteY4" fmla="*/ 6872288 h 7106038"/>
              <a:gd name="connsiteX5" fmla="*/ 113 w 3674032"/>
              <a:gd name="connsiteY5" fmla="*/ 6854825 h 7106038"/>
              <a:gd name="connsiteX6" fmla="*/ 2898 w 3674032"/>
              <a:gd name="connsiteY6" fmla="*/ 0 h 7106038"/>
              <a:gd name="connsiteX0" fmla="*/ 2898 w 3674032"/>
              <a:gd name="connsiteY0" fmla="*/ 0 h 7113022"/>
              <a:gd name="connsiteX1" fmla="*/ 3674032 w 3674032"/>
              <a:gd name="connsiteY1" fmla="*/ 0 h 7113022"/>
              <a:gd name="connsiteX2" fmla="*/ 3674032 w 3674032"/>
              <a:gd name="connsiteY2" fmla="*/ 6 h 7113022"/>
              <a:gd name="connsiteX3" fmla="*/ 2450033 w 3674032"/>
              <a:gd name="connsiteY3" fmla="*/ 6872288 h 7113022"/>
              <a:gd name="connsiteX4" fmla="*/ 2450032 w 3674032"/>
              <a:gd name="connsiteY4" fmla="*/ 6872288 h 7113022"/>
              <a:gd name="connsiteX5" fmla="*/ 112 w 3674032"/>
              <a:gd name="connsiteY5" fmla="*/ 6864350 h 7113022"/>
              <a:gd name="connsiteX6" fmla="*/ 2898 w 3674032"/>
              <a:gd name="connsiteY6" fmla="*/ 0 h 7113022"/>
              <a:gd name="connsiteX0" fmla="*/ 2898 w 3674032"/>
              <a:gd name="connsiteY0" fmla="*/ 0 h 6872288"/>
              <a:gd name="connsiteX1" fmla="*/ 3674032 w 3674032"/>
              <a:gd name="connsiteY1" fmla="*/ 0 h 6872288"/>
              <a:gd name="connsiteX2" fmla="*/ 3674032 w 3674032"/>
              <a:gd name="connsiteY2" fmla="*/ 6 h 6872288"/>
              <a:gd name="connsiteX3" fmla="*/ 2450033 w 3674032"/>
              <a:gd name="connsiteY3" fmla="*/ 6872288 h 6872288"/>
              <a:gd name="connsiteX4" fmla="*/ 2450032 w 3674032"/>
              <a:gd name="connsiteY4" fmla="*/ 6872288 h 6872288"/>
              <a:gd name="connsiteX5" fmla="*/ 112 w 3674032"/>
              <a:gd name="connsiteY5" fmla="*/ 6864350 h 6872288"/>
              <a:gd name="connsiteX6" fmla="*/ 2898 w 3674032"/>
              <a:gd name="connsiteY6" fmla="*/ 0 h 687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4032" h="6872288">
                <a:moveTo>
                  <a:pt x="2898" y="0"/>
                </a:moveTo>
                <a:lnTo>
                  <a:pt x="3674032" y="0"/>
                </a:lnTo>
                <a:lnTo>
                  <a:pt x="3674032" y="6"/>
                </a:lnTo>
                <a:lnTo>
                  <a:pt x="2450033" y="6872288"/>
                </a:lnTo>
                <a:lnTo>
                  <a:pt x="2450032" y="6872288"/>
                </a:lnTo>
                <a:lnTo>
                  <a:pt x="112" y="6864350"/>
                </a:lnTo>
                <a:cubicBezTo>
                  <a:pt x="-760" y="5127625"/>
                  <a:pt x="3770" y="1736725"/>
                  <a:pt x="2898" y="0"/>
                </a:cubicBezTo>
                <a:close/>
              </a:path>
            </a:pathLst>
          </a:custGeom>
          <a:solidFill>
            <a:schemeClr val="accent1">
              <a:alpha val="32000"/>
            </a:schemeClr>
          </a:solidFill>
        </p:spPr>
        <p:txBody>
          <a:bodyPr wrap="square">
            <a:noAutofit/>
          </a:bodyPr>
          <a:lstStyle>
            <a:lvl1pPr>
              <a:lnSpc>
                <a:spcPct val="100000"/>
              </a:lnSpc>
              <a:defRPr/>
            </a:lvl1pPr>
          </a:lstStyle>
          <a:p>
            <a:pPr lvl="0"/>
            <a:r>
              <a:rPr lang="en-US" noProof="0"/>
              <a:t> </a:t>
            </a:r>
          </a:p>
        </p:txBody>
      </p:sp>
      <p:sp>
        <p:nvSpPr>
          <p:cNvPr id="21" name="Textplatzhalter 30">
            <a:extLst>
              <a:ext uri="{FF2B5EF4-FFF2-40B4-BE49-F238E27FC236}">
                <a16:creationId xmlns:a16="http://schemas.microsoft.com/office/drawing/2014/main" id="{6648EEAE-DE3B-420C-B2DE-93ED16F8CCCA}"/>
              </a:ext>
            </a:extLst>
          </p:cNvPr>
          <p:cNvSpPr>
            <a:spLocks noGrp="1"/>
          </p:cNvSpPr>
          <p:nvPr>
            <p:ph type="body" sz="quarter" idx="26" hasCustomPrompt="1"/>
          </p:nvPr>
        </p:nvSpPr>
        <p:spPr bwMode="gray">
          <a:xfrm>
            <a:off x="5231904" y="-1"/>
            <a:ext cx="2160000" cy="2780617"/>
          </a:xfrm>
          <a:prstGeom prst="rect">
            <a:avLst/>
          </a:prstGeom>
          <a:solidFill>
            <a:schemeClr val="accent1">
              <a:alpha val="20000"/>
            </a:schemeClr>
          </a:solidFill>
        </p:spPr>
        <p:txBody>
          <a:bodyPr wrap="square">
            <a:noAutofit/>
          </a:bodyPr>
          <a:lstStyle>
            <a:lvl1pPr>
              <a:lnSpc>
                <a:spcPct val="100000"/>
              </a:lnSpc>
              <a:defRPr/>
            </a:lvl1pPr>
          </a:lstStyle>
          <a:p>
            <a:pPr lvl="0"/>
            <a:r>
              <a:rPr lang="en-US" noProof="0"/>
              <a:t>  </a:t>
            </a:r>
          </a:p>
        </p:txBody>
      </p:sp>
      <p:sp>
        <p:nvSpPr>
          <p:cNvPr id="22" name="Textplatzhalter 31">
            <a:extLst>
              <a:ext uri="{FF2B5EF4-FFF2-40B4-BE49-F238E27FC236}">
                <a16:creationId xmlns:a16="http://schemas.microsoft.com/office/drawing/2014/main" id="{B9155CBF-0CAF-42E3-AC21-F9E23BCBC632}"/>
              </a:ext>
            </a:extLst>
          </p:cNvPr>
          <p:cNvSpPr>
            <a:spLocks noGrp="1"/>
          </p:cNvSpPr>
          <p:nvPr>
            <p:ph type="body" sz="quarter" idx="27" hasCustomPrompt="1"/>
          </p:nvPr>
        </p:nvSpPr>
        <p:spPr bwMode="gray">
          <a:xfrm>
            <a:off x="5231904" y="-3"/>
            <a:ext cx="1440000" cy="2780619"/>
          </a:xfrm>
          <a:prstGeom prst="rect">
            <a:avLst/>
          </a:prstGeom>
          <a:solidFill>
            <a:schemeClr val="accent1">
              <a:alpha val="46000"/>
            </a:schemeClr>
          </a:solidFill>
        </p:spPr>
        <p:txBody>
          <a:bodyPr wrap="square">
            <a:noAutofit/>
          </a:bodyPr>
          <a:lstStyle>
            <a:lvl1pPr>
              <a:lnSpc>
                <a:spcPct val="100000"/>
              </a:lnSpc>
              <a:defRPr/>
            </a:lvl1pPr>
          </a:lstStyle>
          <a:p>
            <a:pPr lvl="0"/>
            <a:r>
              <a:rPr lang="en-US" noProof="0"/>
              <a:t> </a:t>
            </a:r>
          </a:p>
        </p:txBody>
      </p:sp>
      <p:sp>
        <p:nvSpPr>
          <p:cNvPr id="23" name="Textplatzhalter 32">
            <a:extLst>
              <a:ext uri="{FF2B5EF4-FFF2-40B4-BE49-F238E27FC236}">
                <a16:creationId xmlns:a16="http://schemas.microsoft.com/office/drawing/2014/main" id="{AB46E5C9-636A-43DE-AB46-BD39B87BBFB3}"/>
              </a:ext>
            </a:extLst>
          </p:cNvPr>
          <p:cNvSpPr>
            <a:spLocks noGrp="1"/>
          </p:cNvSpPr>
          <p:nvPr>
            <p:ph type="body" sz="quarter" idx="28" hasCustomPrompt="1"/>
          </p:nvPr>
        </p:nvSpPr>
        <p:spPr bwMode="gray">
          <a:xfrm>
            <a:off x="5232064" y="-1"/>
            <a:ext cx="1440000" cy="2780618"/>
          </a:xfrm>
          <a:custGeom>
            <a:avLst/>
            <a:gdLst>
              <a:gd name="connsiteX0" fmla="*/ 0 w 2598738"/>
              <a:gd name="connsiteY0" fmla="*/ 0 h 6872288"/>
              <a:gd name="connsiteX1" fmla="*/ 2598738 w 2598738"/>
              <a:gd name="connsiteY1" fmla="*/ 0 h 6872288"/>
              <a:gd name="connsiteX2" fmla="*/ 2598738 w 2598738"/>
              <a:gd name="connsiteY2" fmla="*/ 42888 h 6872288"/>
              <a:gd name="connsiteX3" fmla="*/ 3566 w 2598738"/>
              <a:gd name="connsiteY3" fmla="*/ 6872288 h 6872288"/>
              <a:gd name="connsiteX4" fmla="*/ 0 w 2598738"/>
              <a:gd name="connsiteY4" fmla="*/ 6872288 h 6872288"/>
              <a:gd name="connsiteX0" fmla="*/ 0 w 2598738"/>
              <a:gd name="connsiteY0" fmla="*/ 0 h 6872288"/>
              <a:gd name="connsiteX1" fmla="*/ 2598738 w 2598738"/>
              <a:gd name="connsiteY1" fmla="*/ 0 h 6872288"/>
              <a:gd name="connsiteX2" fmla="*/ 3566 w 2598738"/>
              <a:gd name="connsiteY2" fmla="*/ 6872288 h 6872288"/>
              <a:gd name="connsiteX3" fmla="*/ 0 w 2598738"/>
              <a:gd name="connsiteY3" fmla="*/ 6872288 h 6872288"/>
              <a:gd name="connsiteX4" fmla="*/ 0 w 2598738"/>
              <a:gd name="connsiteY4" fmla="*/ 0 h 68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8738" h="6872288">
                <a:moveTo>
                  <a:pt x="0" y="0"/>
                </a:moveTo>
                <a:lnTo>
                  <a:pt x="2598738" y="0"/>
                </a:lnTo>
                <a:lnTo>
                  <a:pt x="3566" y="6872288"/>
                </a:lnTo>
                <a:lnTo>
                  <a:pt x="0" y="6872288"/>
                </a:lnTo>
                <a:lnTo>
                  <a:pt x="0" y="0"/>
                </a:lnTo>
                <a:close/>
              </a:path>
            </a:pathLst>
          </a:custGeom>
          <a:solidFill>
            <a:schemeClr val="accent1">
              <a:alpha val="56000"/>
            </a:schemeClr>
          </a:solidFill>
        </p:spPr>
        <p:txBody>
          <a:bodyPr wrap="square">
            <a:noAutofit/>
          </a:bodyPr>
          <a:lstStyle>
            <a:lvl1pPr>
              <a:lnSpc>
                <a:spcPct val="100000"/>
              </a:lnSpc>
              <a:defRPr/>
            </a:lvl1pPr>
          </a:lstStyle>
          <a:p>
            <a:pPr lvl="0"/>
            <a:r>
              <a:rPr lang="en-US" noProof="0"/>
              <a:t> </a:t>
            </a:r>
          </a:p>
        </p:txBody>
      </p:sp>
      <p:sp>
        <p:nvSpPr>
          <p:cNvPr id="8" name="Textplatzhalter 7">
            <a:extLst>
              <a:ext uri="{FF2B5EF4-FFF2-40B4-BE49-F238E27FC236}">
                <a16:creationId xmlns:a16="http://schemas.microsoft.com/office/drawing/2014/main" id="{13136FB6-2459-40BA-89FC-1C0C4A085B7A}"/>
              </a:ext>
            </a:extLst>
          </p:cNvPr>
          <p:cNvSpPr>
            <a:spLocks noGrp="1"/>
          </p:cNvSpPr>
          <p:nvPr>
            <p:ph type="body" sz="quarter" idx="16" hasCustomPrompt="1"/>
          </p:nvPr>
        </p:nvSpPr>
        <p:spPr bwMode="gray">
          <a:xfrm>
            <a:off x="407368" y="4002982"/>
            <a:ext cx="3168000" cy="1584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a text</a:t>
            </a:r>
          </a:p>
        </p:txBody>
      </p:sp>
      <p:sp>
        <p:nvSpPr>
          <p:cNvPr id="18" name="Textplatzhalter 7">
            <a:extLst>
              <a:ext uri="{FF2B5EF4-FFF2-40B4-BE49-F238E27FC236}">
                <a16:creationId xmlns:a16="http://schemas.microsoft.com/office/drawing/2014/main" id="{50B90DF4-2122-40A6-B0D7-CFBAA91F4F0D}"/>
              </a:ext>
            </a:extLst>
          </p:cNvPr>
          <p:cNvSpPr>
            <a:spLocks noGrp="1"/>
          </p:cNvSpPr>
          <p:nvPr>
            <p:ph type="body" sz="quarter" idx="17" hasCustomPrompt="1"/>
          </p:nvPr>
        </p:nvSpPr>
        <p:spPr bwMode="gray">
          <a:xfrm>
            <a:off x="4511824" y="4002982"/>
            <a:ext cx="3168000" cy="1584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a text</a:t>
            </a:r>
          </a:p>
        </p:txBody>
      </p:sp>
      <p:sp>
        <p:nvSpPr>
          <p:cNvPr id="19" name="Textplatzhalter 7">
            <a:extLst>
              <a:ext uri="{FF2B5EF4-FFF2-40B4-BE49-F238E27FC236}">
                <a16:creationId xmlns:a16="http://schemas.microsoft.com/office/drawing/2014/main" id="{5B50EB4E-71BC-49D0-A120-31E1C616C796}"/>
              </a:ext>
            </a:extLst>
          </p:cNvPr>
          <p:cNvSpPr>
            <a:spLocks noGrp="1"/>
          </p:cNvSpPr>
          <p:nvPr>
            <p:ph type="body" sz="quarter" idx="18" hasCustomPrompt="1"/>
          </p:nvPr>
        </p:nvSpPr>
        <p:spPr bwMode="gray">
          <a:xfrm>
            <a:off x="8616280" y="4002982"/>
            <a:ext cx="3168000" cy="1584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a text</a:t>
            </a:r>
          </a:p>
        </p:txBody>
      </p:sp>
      <p:sp>
        <p:nvSpPr>
          <p:cNvPr id="20" name="Textplatzhalter 19">
            <a:extLst>
              <a:ext uri="{FF2B5EF4-FFF2-40B4-BE49-F238E27FC236}">
                <a16:creationId xmlns:a16="http://schemas.microsoft.com/office/drawing/2014/main" id="{FC14F9F6-F721-4417-90F7-08AB8D5DFA81}"/>
              </a:ext>
            </a:extLst>
          </p:cNvPr>
          <p:cNvSpPr>
            <a:spLocks noGrp="1"/>
          </p:cNvSpPr>
          <p:nvPr>
            <p:ph type="body" sz="quarter" idx="19" hasCustomPrompt="1"/>
          </p:nvPr>
        </p:nvSpPr>
        <p:spPr bwMode="gray">
          <a:xfrm>
            <a:off x="407348" y="3498946"/>
            <a:ext cx="360000" cy="360000"/>
          </a:xfrm>
          <a:custGeom>
            <a:avLst/>
            <a:gdLst/>
            <a:ahLst/>
            <a:cxnLst/>
            <a:rect l="l" t="t" r="r" b="b"/>
            <a:pathLst>
              <a:path w="360000" h="360000">
                <a:moveTo>
                  <a:pt x="185674" y="85465"/>
                </a:moveTo>
                <a:cubicBezTo>
                  <a:pt x="181593" y="93712"/>
                  <a:pt x="174648" y="102220"/>
                  <a:pt x="164838" y="110989"/>
                </a:cubicBezTo>
                <a:cubicBezTo>
                  <a:pt x="155028" y="119757"/>
                  <a:pt x="143568" y="127223"/>
                  <a:pt x="130459" y="133387"/>
                </a:cubicBezTo>
                <a:lnTo>
                  <a:pt x="130459" y="156046"/>
                </a:lnTo>
                <a:cubicBezTo>
                  <a:pt x="137751" y="153355"/>
                  <a:pt x="145977" y="149318"/>
                  <a:pt x="155136" y="143935"/>
                </a:cubicBezTo>
                <a:cubicBezTo>
                  <a:pt x="164295" y="138553"/>
                  <a:pt x="171696" y="133170"/>
                  <a:pt x="177339" y="127787"/>
                </a:cubicBezTo>
                <a:lnTo>
                  <a:pt x="177339" y="277155"/>
                </a:lnTo>
                <a:lnTo>
                  <a:pt x="200780" y="277155"/>
                </a:lnTo>
                <a:lnTo>
                  <a:pt x="200780" y="85465"/>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Font typeface="Arial" panose="020B0604020202020204" pitchFamily="34" charset="0"/>
              <a:buNone/>
              <a:defRPr sz="600" b="0">
                <a:solidFill>
                  <a:schemeClr val="bg1">
                    <a:alpha val="0"/>
                  </a:schemeClr>
                </a:solidFill>
              </a:defRPr>
            </a:lvl3pPr>
            <a:lvl4pPr marL="0" indent="0" algn="ctr">
              <a:buFont typeface="Arial" panose="020B0604020202020204" pitchFamily="34" charset="0"/>
              <a:buNone/>
              <a:defRPr sz="600" b="0">
                <a:solidFill>
                  <a:schemeClr val="bg1">
                    <a:alpha val="0"/>
                  </a:schemeClr>
                </a:solidFill>
              </a:defRPr>
            </a:lvl4pPr>
            <a:lvl5pPr marL="0" indent="0" algn="ctr">
              <a:buFont typeface="Arial" panose="020B0604020202020204" pitchFamily="34" charset="0"/>
              <a:buNone/>
              <a:defRPr sz="600" b="0">
                <a:solidFill>
                  <a:schemeClr val="bg1">
                    <a:alpha val="0"/>
                  </a:schemeClr>
                </a:solidFill>
              </a:defRPr>
            </a:lvl5pPr>
            <a:lvl6pPr marL="0" indent="0" algn="ctr">
              <a:buFont typeface="Arial" panose="020B0604020202020204" pitchFamily="34" charset="0"/>
              <a:buNone/>
              <a:defRPr sz="600" b="0">
                <a:solidFill>
                  <a:schemeClr val="bg1">
                    <a:alpha val="0"/>
                  </a:schemeClr>
                </a:solidFill>
              </a:defRPr>
            </a:lvl6pPr>
            <a:lvl7pPr marL="0" indent="0" algn="ctr">
              <a:buFont typeface="Arial" panose="020B0604020202020204" pitchFamily="34" charset="0"/>
              <a:buNone/>
              <a:defRPr sz="600" b="0">
                <a:solidFill>
                  <a:schemeClr val="bg1">
                    <a:alpha val="0"/>
                  </a:schemeClr>
                </a:solidFill>
              </a:defRPr>
            </a:lvl7pPr>
            <a:lvl8pPr marL="0" indent="0" algn="ctr">
              <a:buFont typeface="Arial" panose="020B0604020202020204" pitchFamily="34" charset="0"/>
              <a:buNone/>
              <a:defRPr sz="600" b="0">
                <a:solidFill>
                  <a:schemeClr val="bg1">
                    <a:alpha val="0"/>
                  </a:schemeClr>
                </a:solidFill>
              </a:defRPr>
            </a:lvl8pPr>
            <a:lvl9pPr marL="0" indent="0" algn="ctr">
              <a:buFont typeface="Arial" panose="020B0604020202020204" pitchFamily="34" charset="0"/>
              <a:buNone/>
              <a:defRPr sz="600" b="0">
                <a:solidFill>
                  <a:schemeClr val="bg1">
                    <a:alpha val="0"/>
                  </a:schemeClr>
                </a:solidFill>
              </a:defRPr>
            </a:lvl9pPr>
          </a:lstStyle>
          <a:p>
            <a:pPr lvl="0"/>
            <a:r>
              <a:rPr lang="en-US" noProof="0"/>
              <a:t>  </a:t>
            </a:r>
          </a:p>
        </p:txBody>
      </p:sp>
      <p:sp>
        <p:nvSpPr>
          <p:cNvPr id="32" name="Textplatzhalter 31">
            <a:extLst>
              <a:ext uri="{FF2B5EF4-FFF2-40B4-BE49-F238E27FC236}">
                <a16:creationId xmlns:a16="http://schemas.microsoft.com/office/drawing/2014/main" id="{03F2101C-1187-435C-8716-158E07140A3D}"/>
              </a:ext>
            </a:extLst>
          </p:cNvPr>
          <p:cNvSpPr>
            <a:spLocks noGrp="1"/>
          </p:cNvSpPr>
          <p:nvPr>
            <p:ph type="body" sz="quarter" idx="20" hasCustomPrompt="1"/>
          </p:nvPr>
        </p:nvSpPr>
        <p:spPr bwMode="gray">
          <a:xfrm>
            <a:off x="4511844" y="3498946"/>
            <a:ext cx="360000" cy="360000"/>
          </a:xfrm>
          <a:custGeom>
            <a:avLst/>
            <a:gdLst/>
            <a:ahLst/>
            <a:cxnLst/>
            <a:rect l="l" t="t" r="r" b="b"/>
            <a:pathLst>
              <a:path w="360000" h="360000">
                <a:moveTo>
                  <a:pt x="175907" y="85465"/>
                </a:moveTo>
                <a:cubicBezTo>
                  <a:pt x="157763" y="85465"/>
                  <a:pt x="143308" y="90174"/>
                  <a:pt x="132542" y="99594"/>
                </a:cubicBezTo>
                <a:cubicBezTo>
                  <a:pt x="121777" y="109013"/>
                  <a:pt x="115570" y="122709"/>
                  <a:pt x="113920" y="140680"/>
                </a:cubicBezTo>
                <a:lnTo>
                  <a:pt x="138012" y="143154"/>
                </a:lnTo>
                <a:cubicBezTo>
                  <a:pt x="138099" y="131173"/>
                  <a:pt x="141528" y="121797"/>
                  <a:pt x="148300" y="115025"/>
                </a:cubicBezTo>
                <a:cubicBezTo>
                  <a:pt x="155071" y="108254"/>
                  <a:pt x="164100" y="104868"/>
                  <a:pt x="175386" y="104868"/>
                </a:cubicBezTo>
                <a:cubicBezTo>
                  <a:pt x="186065" y="104868"/>
                  <a:pt x="194725" y="108058"/>
                  <a:pt x="201366" y="114439"/>
                </a:cubicBezTo>
                <a:cubicBezTo>
                  <a:pt x="208008" y="120820"/>
                  <a:pt x="211328" y="128656"/>
                  <a:pt x="211328" y="137945"/>
                </a:cubicBezTo>
                <a:cubicBezTo>
                  <a:pt x="211328" y="146800"/>
                  <a:pt x="207682" y="156198"/>
                  <a:pt x="200389" y="166139"/>
                </a:cubicBezTo>
                <a:cubicBezTo>
                  <a:pt x="193097" y="176079"/>
                  <a:pt x="179076" y="189557"/>
                  <a:pt x="158327" y="206573"/>
                </a:cubicBezTo>
                <a:cubicBezTo>
                  <a:pt x="144957" y="217512"/>
                  <a:pt x="134735" y="227149"/>
                  <a:pt x="127659" y="235483"/>
                </a:cubicBezTo>
                <a:cubicBezTo>
                  <a:pt x="120583" y="243818"/>
                  <a:pt x="115440" y="252282"/>
                  <a:pt x="112227" y="260877"/>
                </a:cubicBezTo>
                <a:cubicBezTo>
                  <a:pt x="110231" y="266086"/>
                  <a:pt x="109319" y="271512"/>
                  <a:pt x="109493" y="277155"/>
                </a:cubicBezTo>
                <a:lnTo>
                  <a:pt x="235680" y="277155"/>
                </a:lnTo>
                <a:lnTo>
                  <a:pt x="235680" y="254626"/>
                </a:lnTo>
                <a:lnTo>
                  <a:pt x="142049" y="254626"/>
                </a:lnTo>
                <a:cubicBezTo>
                  <a:pt x="144653" y="250372"/>
                  <a:pt x="147952" y="246140"/>
                  <a:pt x="151946" y="241929"/>
                </a:cubicBezTo>
                <a:cubicBezTo>
                  <a:pt x="155939" y="237719"/>
                  <a:pt x="164968" y="229710"/>
                  <a:pt x="179033" y="217903"/>
                </a:cubicBezTo>
                <a:cubicBezTo>
                  <a:pt x="195875" y="203665"/>
                  <a:pt x="207921" y="192466"/>
                  <a:pt x="215170" y="184305"/>
                </a:cubicBezTo>
                <a:cubicBezTo>
                  <a:pt x="222419" y="176144"/>
                  <a:pt x="227606" y="168374"/>
                  <a:pt x="230732" y="160995"/>
                </a:cubicBezTo>
                <a:cubicBezTo>
                  <a:pt x="233857" y="153615"/>
                  <a:pt x="235420" y="146106"/>
                  <a:pt x="235420" y="138466"/>
                </a:cubicBezTo>
                <a:cubicBezTo>
                  <a:pt x="235420" y="123447"/>
                  <a:pt x="230081" y="110858"/>
                  <a:pt x="219402" y="100701"/>
                </a:cubicBezTo>
                <a:cubicBezTo>
                  <a:pt x="208724" y="90543"/>
                  <a:pt x="194225" y="85465"/>
                  <a:pt x="175907" y="8546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34" name="Textplatzhalter 33">
            <a:extLst>
              <a:ext uri="{FF2B5EF4-FFF2-40B4-BE49-F238E27FC236}">
                <a16:creationId xmlns:a16="http://schemas.microsoft.com/office/drawing/2014/main" id="{3C0D92AB-B8D7-423D-BC1D-38E947EFF287}"/>
              </a:ext>
            </a:extLst>
          </p:cNvPr>
          <p:cNvSpPr>
            <a:spLocks noGrp="1"/>
          </p:cNvSpPr>
          <p:nvPr>
            <p:ph type="body" sz="quarter" idx="21" hasCustomPrompt="1"/>
          </p:nvPr>
        </p:nvSpPr>
        <p:spPr bwMode="gray">
          <a:xfrm>
            <a:off x="8616280" y="3498926"/>
            <a:ext cx="360000" cy="360000"/>
          </a:xfrm>
          <a:custGeom>
            <a:avLst/>
            <a:gdLst/>
            <a:ahLst/>
            <a:cxnLst/>
            <a:rect l="l" t="t" r="r" b="b"/>
            <a:pathLst>
              <a:path w="360000" h="360000">
                <a:moveTo>
                  <a:pt x="172371" y="85485"/>
                </a:moveTo>
                <a:cubicBezTo>
                  <a:pt x="157265" y="85485"/>
                  <a:pt x="144633" y="89804"/>
                  <a:pt x="134476" y="98442"/>
                </a:cubicBezTo>
                <a:cubicBezTo>
                  <a:pt x="124318" y="107080"/>
                  <a:pt x="117807" y="119256"/>
                  <a:pt x="114942" y="134970"/>
                </a:cubicBezTo>
                <a:lnTo>
                  <a:pt x="138382" y="139137"/>
                </a:lnTo>
                <a:cubicBezTo>
                  <a:pt x="140119" y="127677"/>
                  <a:pt x="144025" y="119082"/>
                  <a:pt x="150102" y="113353"/>
                </a:cubicBezTo>
                <a:cubicBezTo>
                  <a:pt x="156180" y="107623"/>
                  <a:pt x="163776" y="104758"/>
                  <a:pt x="172892" y="104758"/>
                </a:cubicBezTo>
                <a:cubicBezTo>
                  <a:pt x="182094" y="104758"/>
                  <a:pt x="189604" y="107579"/>
                  <a:pt x="195421" y="113222"/>
                </a:cubicBezTo>
                <a:cubicBezTo>
                  <a:pt x="201237" y="118865"/>
                  <a:pt x="204146" y="125984"/>
                  <a:pt x="204146" y="134579"/>
                </a:cubicBezTo>
                <a:cubicBezTo>
                  <a:pt x="204146" y="145431"/>
                  <a:pt x="200152" y="153462"/>
                  <a:pt x="192165" y="158671"/>
                </a:cubicBezTo>
                <a:cubicBezTo>
                  <a:pt x="184178" y="163880"/>
                  <a:pt x="175192" y="166484"/>
                  <a:pt x="165209" y="166484"/>
                </a:cubicBezTo>
                <a:cubicBezTo>
                  <a:pt x="164254" y="166484"/>
                  <a:pt x="162995" y="166397"/>
                  <a:pt x="161432" y="166224"/>
                </a:cubicBezTo>
                <a:lnTo>
                  <a:pt x="158828" y="186799"/>
                </a:lnTo>
                <a:cubicBezTo>
                  <a:pt x="165426" y="185063"/>
                  <a:pt x="170938" y="184195"/>
                  <a:pt x="175366" y="184195"/>
                </a:cubicBezTo>
                <a:cubicBezTo>
                  <a:pt x="186218" y="184195"/>
                  <a:pt x="195160" y="187689"/>
                  <a:pt x="202192" y="194678"/>
                </a:cubicBezTo>
                <a:cubicBezTo>
                  <a:pt x="209224" y="201667"/>
                  <a:pt x="212741" y="210544"/>
                  <a:pt x="212741" y="221309"/>
                </a:cubicBezTo>
                <a:cubicBezTo>
                  <a:pt x="212741" y="232595"/>
                  <a:pt x="208942" y="242058"/>
                  <a:pt x="201346" y="249698"/>
                </a:cubicBezTo>
                <a:cubicBezTo>
                  <a:pt x="193749" y="257338"/>
                  <a:pt x="184438" y="261158"/>
                  <a:pt x="173413" y="261158"/>
                </a:cubicBezTo>
                <a:cubicBezTo>
                  <a:pt x="164123" y="261158"/>
                  <a:pt x="156245" y="258227"/>
                  <a:pt x="149777" y="252367"/>
                </a:cubicBezTo>
                <a:cubicBezTo>
                  <a:pt x="143309" y="246507"/>
                  <a:pt x="138730" y="236936"/>
                  <a:pt x="136038" y="223653"/>
                </a:cubicBezTo>
                <a:lnTo>
                  <a:pt x="112598" y="226778"/>
                </a:lnTo>
                <a:cubicBezTo>
                  <a:pt x="114161" y="242666"/>
                  <a:pt x="120476" y="255601"/>
                  <a:pt x="131546" y="265585"/>
                </a:cubicBezTo>
                <a:cubicBezTo>
                  <a:pt x="142615" y="275569"/>
                  <a:pt x="156527" y="280561"/>
                  <a:pt x="173282" y="280561"/>
                </a:cubicBezTo>
                <a:cubicBezTo>
                  <a:pt x="191861" y="280561"/>
                  <a:pt x="207228" y="274766"/>
                  <a:pt x="219382" y="263176"/>
                </a:cubicBezTo>
                <a:cubicBezTo>
                  <a:pt x="231536" y="251586"/>
                  <a:pt x="237613" y="237457"/>
                  <a:pt x="237613" y="220788"/>
                </a:cubicBezTo>
                <a:cubicBezTo>
                  <a:pt x="237613" y="208460"/>
                  <a:pt x="234488" y="198194"/>
                  <a:pt x="228237" y="189990"/>
                </a:cubicBezTo>
                <a:cubicBezTo>
                  <a:pt x="221986" y="181786"/>
                  <a:pt x="213218" y="176381"/>
                  <a:pt x="201932" y="173777"/>
                </a:cubicBezTo>
                <a:cubicBezTo>
                  <a:pt x="210614" y="169783"/>
                  <a:pt x="217168" y="164401"/>
                  <a:pt x="221596" y="157629"/>
                </a:cubicBezTo>
                <a:cubicBezTo>
                  <a:pt x="226023" y="150857"/>
                  <a:pt x="228237" y="143348"/>
                  <a:pt x="228237" y="135100"/>
                </a:cubicBezTo>
                <a:cubicBezTo>
                  <a:pt x="228237" y="126418"/>
                  <a:pt x="225915" y="118214"/>
                  <a:pt x="221270" y="110488"/>
                </a:cubicBezTo>
                <a:cubicBezTo>
                  <a:pt x="216626" y="102761"/>
                  <a:pt x="209919" y="96662"/>
                  <a:pt x="201151" y="92191"/>
                </a:cubicBezTo>
                <a:cubicBezTo>
                  <a:pt x="192382" y="87720"/>
                  <a:pt x="182789" y="85485"/>
                  <a:pt x="172371" y="8548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4" name="Rechteck 23">
            <a:extLst>
              <a:ext uri="{FF2B5EF4-FFF2-40B4-BE49-F238E27FC236}">
                <a16:creationId xmlns:a16="http://schemas.microsoft.com/office/drawing/2014/main" id="{87E980EF-DF98-4285-A3F6-3F0880748DE8}"/>
              </a:ext>
            </a:extLst>
          </p:cNvPr>
          <p:cNvSpPr/>
          <p:nvPr userDrawn="1"/>
        </p:nvSpPr>
        <p:spPr bwMode="gray">
          <a:xfrm>
            <a:off x="0" y="-1"/>
            <a:ext cx="5256000" cy="27806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noProof="0"/>
          </a:p>
        </p:txBody>
      </p:sp>
      <p:sp>
        <p:nvSpPr>
          <p:cNvPr id="25" name="Titel 1">
            <a:extLst>
              <a:ext uri="{FF2B5EF4-FFF2-40B4-BE49-F238E27FC236}">
                <a16:creationId xmlns:a16="http://schemas.microsoft.com/office/drawing/2014/main" id="{FBBF9BBD-ACB5-4A6A-9848-F76231A756D3}"/>
              </a:ext>
            </a:extLst>
          </p:cNvPr>
          <p:cNvSpPr>
            <a:spLocks noGrp="1"/>
          </p:cNvSpPr>
          <p:nvPr>
            <p:ph type="title" hasCustomPrompt="1"/>
          </p:nvPr>
        </p:nvSpPr>
        <p:spPr bwMode="gray">
          <a:xfrm>
            <a:off x="407368" y="764700"/>
            <a:ext cx="4536504" cy="1619964"/>
          </a:xfrm>
        </p:spPr>
        <p:txBody>
          <a:bodyPr anchor="b" anchorCtr="0"/>
          <a:lstStyle>
            <a:lvl1pPr>
              <a:lnSpc>
                <a:spcPct val="100000"/>
              </a:lnSpc>
              <a:defRPr sz="3600" b="0">
                <a:solidFill>
                  <a:schemeClr val="bg1"/>
                </a:solidFill>
              </a:defRPr>
            </a:lvl1pPr>
          </a:lstStyle>
          <a:p>
            <a:r>
              <a:rPr lang="en-US" noProof="0"/>
              <a:t>Click to add the title of the presentation</a:t>
            </a:r>
          </a:p>
        </p:txBody>
      </p:sp>
      <p:sp>
        <p:nvSpPr>
          <p:cNvPr id="33" name="Textplatzhalter 9">
            <a:extLst>
              <a:ext uri="{FF2B5EF4-FFF2-40B4-BE49-F238E27FC236}">
                <a16:creationId xmlns:a16="http://schemas.microsoft.com/office/drawing/2014/main" id="{2E7FA3AE-FF41-47F4-B56F-12ED173F59BB}"/>
              </a:ext>
            </a:extLst>
          </p:cNvPr>
          <p:cNvSpPr>
            <a:spLocks noGrp="1"/>
          </p:cNvSpPr>
          <p:nvPr>
            <p:ph type="body" sz="quarter" idx="35" hasCustomPrompt="1"/>
          </p:nvPr>
        </p:nvSpPr>
        <p:spPr bwMode="gray">
          <a:xfrm>
            <a:off x="407368" y="404664"/>
            <a:ext cx="215900" cy="216000"/>
          </a:xfrm>
          <a:blipFill>
            <a:blip r:embed="rId2"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Tree>
    <p:extLst>
      <p:ext uri="{BB962C8B-B14F-4D97-AF65-F5344CB8AC3E}">
        <p14:creationId xmlns:p14="http://schemas.microsoft.com/office/powerpoint/2010/main" val="751565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hort agenda 6 points">
    <p:bg>
      <p:bgPr>
        <a:solidFill>
          <a:schemeClr val="bg1"/>
        </a:solidFill>
        <a:effectLst/>
      </p:bgPr>
    </p:bg>
    <p:spTree>
      <p:nvGrpSpPr>
        <p:cNvPr id="1" name=""/>
        <p:cNvGrpSpPr/>
        <p:nvPr/>
      </p:nvGrpSpPr>
      <p:grpSpPr>
        <a:xfrm>
          <a:off x="0" y="0"/>
          <a:ext cx="0" cy="0"/>
          <a:chOff x="0" y="0"/>
          <a:chExt cx="0" cy="0"/>
        </a:xfrm>
      </p:grpSpPr>
      <p:sp>
        <p:nvSpPr>
          <p:cNvPr id="50" name="Bildplatzhalter 26">
            <a:extLst>
              <a:ext uri="{FF2B5EF4-FFF2-40B4-BE49-F238E27FC236}">
                <a16:creationId xmlns:a16="http://schemas.microsoft.com/office/drawing/2014/main" id="{AF84E948-A4F0-4D15-99F3-7C277E430641}"/>
              </a:ext>
            </a:extLst>
          </p:cNvPr>
          <p:cNvSpPr>
            <a:spLocks noGrp="1"/>
          </p:cNvSpPr>
          <p:nvPr>
            <p:ph type="pic" sz="quarter" idx="10" hasCustomPrompt="1"/>
          </p:nvPr>
        </p:nvSpPr>
        <p:spPr bwMode="gray">
          <a:xfrm>
            <a:off x="5256000" y="0"/>
            <a:ext cx="6936001" cy="2780616"/>
          </a:xfrm>
          <a:solidFill>
            <a:schemeClr val="accent3"/>
          </a:solidFill>
        </p:spPr>
        <p:txBody>
          <a:bodyPr tIns="1584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Optional: To add a picture click the icon</a:t>
            </a:r>
          </a:p>
        </p:txBody>
      </p:sp>
      <p:sp>
        <p:nvSpPr>
          <p:cNvPr id="52" name="Textplatzhalter 28">
            <a:extLst>
              <a:ext uri="{FF2B5EF4-FFF2-40B4-BE49-F238E27FC236}">
                <a16:creationId xmlns:a16="http://schemas.microsoft.com/office/drawing/2014/main" id="{FE260A9A-A912-471B-8CB7-8BDA8EF86991}"/>
              </a:ext>
            </a:extLst>
          </p:cNvPr>
          <p:cNvSpPr>
            <a:spLocks noGrp="1"/>
          </p:cNvSpPr>
          <p:nvPr>
            <p:ph type="body" sz="quarter" idx="25" hasCustomPrompt="1"/>
          </p:nvPr>
        </p:nvSpPr>
        <p:spPr bwMode="gray">
          <a:xfrm>
            <a:off x="5231904" y="-1"/>
            <a:ext cx="2159370" cy="2780617"/>
          </a:xfrm>
          <a:custGeom>
            <a:avLst/>
            <a:gdLst>
              <a:gd name="connsiteX0" fmla="*/ 0 w 1224000"/>
              <a:gd name="connsiteY0" fmla="*/ 0 h 6872288"/>
              <a:gd name="connsiteX1" fmla="*/ 1224000 w 1224000"/>
              <a:gd name="connsiteY1" fmla="*/ 0 h 6872288"/>
              <a:gd name="connsiteX2" fmla="*/ 1224000 w 1224000"/>
              <a:gd name="connsiteY2" fmla="*/ 6 h 6872288"/>
              <a:gd name="connsiteX3" fmla="*/ 1 w 1224000"/>
              <a:gd name="connsiteY3" fmla="*/ 6872288 h 6872288"/>
              <a:gd name="connsiteX4" fmla="*/ 0 w 1224000"/>
              <a:gd name="connsiteY4" fmla="*/ 6872288 h 6872288"/>
              <a:gd name="connsiteX0" fmla="*/ 2444517 w 3668517"/>
              <a:gd name="connsiteY0" fmla="*/ 0 h 7053344"/>
              <a:gd name="connsiteX1" fmla="*/ 3668517 w 3668517"/>
              <a:gd name="connsiteY1" fmla="*/ 0 h 7053344"/>
              <a:gd name="connsiteX2" fmla="*/ 3668517 w 3668517"/>
              <a:gd name="connsiteY2" fmla="*/ 6 h 7053344"/>
              <a:gd name="connsiteX3" fmla="*/ 2444518 w 3668517"/>
              <a:gd name="connsiteY3" fmla="*/ 6872288 h 7053344"/>
              <a:gd name="connsiteX4" fmla="*/ 2444517 w 3668517"/>
              <a:gd name="connsiteY4" fmla="*/ 6872288 h 7053344"/>
              <a:gd name="connsiteX5" fmla="*/ 0 w 3668517"/>
              <a:gd name="connsiteY5" fmla="*/ 6896100 h 7053344"/>
              <a:gd name="connsiteX6" fmla="*/ 2444517 w 3668517"/>
              <a:gd name="connsiteY6" fmla="*/ 0 h 7053344"/>
              <a:gd name="connsiteX0" fmla="*/ 0 w 3671134"/>
              <a:gd name="connsiteY0" fmla="*/ 0 h 7053344"/>
              <a:gd name="connsiteX1" fmla="*/ 3671134 w 3671134"/>
              <a:gd name="connsiteY1" fmla="*/ 0 h 7053344"/>
              <a:gd name="connsiteX2" fmla="*/ 3671134 w 3671134"/>
              <a:gd name="connsiteY2" fmla="*/ 6 h 7053344"/>
              <a:gd name="connsiteX3" fmla="*/ 2447135 w 3671134"/>
              <a:gd name="connsiteY3" fmla="*/ 6872288 h 7053344"/>
              <a:gd name="connsiteX4" fmla="*/ 2447134 w 3671134"/>
              <a:gd name="connsiteY4" fmla="*/ 6872288 h 7053344"/>
              <a:gd name="connsiteX5" fmla="*/ 2617 w 3671134"/>
              <a:gd name="connsiteY5" fmla="*/ 6896100 h 7053344"/>
              <a:gd name="connsiteX6" fmla="*/ 0 w 3671134"/>
              <a:gd name="connsiteY6" fmla="*/ 0 h 7053344"/>
              <a:gd name="connsiteX0" fmla="*/ 0 w 3671134"/>
              <a:gd name="connsiteY0" fmla="*/ 0 h 7136652"/>
              <a:gd name="connsiteX1" fmla="*/ 3671134 w 3671134"/>
              <a:gd name="connsiteY1" fmla="*/ 0 h 7136652"/>
              <a:gd name="connsiteX2" fmla="*/ 3671134 w 3671134"/>
              <a:gd name="connsiteY2" fmla="*/ 6 h 7136652"/>
              <a:gd name="connsiteX3" fmla="*/ 2447135 w 3671134"/>
              <a:gd name="connsiteY3" fmla="*/ 6872288 h 7136652"/>
              <a:gd name="connsiteX4" fmla="*/ 2447134 w 3671134"/>
              <a:gd name="connsiteY4" fmla="*/ 6872288 h 7136652"/>
              <a:gd name="connsiteX5" fmla="*/ 2617 w 3671134"/>
              <a:gd name="connsiteY5" fmla="*/ 6896100 h 7136652"/>
              <a:gd name="connsiteX6" fmla="*/ 0 w 3671134"/>
              <a:gd name="connsiteY6" fmla="*/ 0 h 7136652"/>
              <a:gd name="connsiteX0" fmla="*/ 2898 w 3674032"/>
              <a:gd name="connsiteY0" fmla="*/ 0 h 7106038"/>
              <a:gd name="connsiteX1" fmla="*/ 3674032 w 3674032"/>
              <a:gd name="connsiteY1" fmla="*/ 0 h 7106038"/>
              <a:gd name="connsiteX2" fmla="*/ 3674032 w 3674032"/>
              <a:gd name="connsiteY2" fmla="*/ 6 h 7106038"/>
              <a:gd name="connsiteX3" fmla="*/ 2450033 w 3674032"/>
              <a:gd name="connsiteY3" fmla="*/ 6872288 h 7106038"/>
              <a:gd name="connsiteX4" fmla="*/ 2450032 w 3674032"/>
              <a:gd name="connsiteY4" fmla="*/ 6872288 h 7106038"/>
              <a:gd name="connsiteX5" fmla="*/ 113 w 3674032"/>
              <a:gd name="connsiteY5" fmla="*/ 6854825 h 7106038"/>
              <a:gd name="connsiteX6" fmla="*/ 2898 w 3674032"/>
              <a:gd name="connsiteY6" fmla="*/ 0 h 7106038"/>
              <a:gd name="connsiteX0" fmla="*/ 2898 w 3674032"/>
              <a:gd name="connsiteY0" fmla="*/ 0 h 7113022"/>
              <a:gd name="connsiteX1" fmla="*/ 3674032 w 3674032"/>
              <a:gd name="connsiteY1" fmla="*/ 0 h 7113022"/>
              <a:gd name="connsiteX2" fmla="*/ 3674032 w 3674032"/>
              <a:gd name="connsiteY2" fmla="*/ 6 h 7113022"/>
              <a:gd name="connsiteX3" fmla="*/ 2450033 w 3674032"/>
              <a:gd name="connsiteY3" fmla="*/ 6872288 h 7113022"/>
              <a:gd name="connsiteX4" fmla="*/ 2450032 w 3674032"/>
              <a:gd name="connsiteY4" fmla="*/ 6872288 h 7113022"/>
              <a:gd name="connsiteX5" fmla="*/ 112 w 3674032"/>
              <a:gd name="connsiteY5" fmla="*/ 6864350 h 7113022"/>
              <a:gd name="connsiteX6" fmla="*/ 2898 w 3674032"/>
              <a:gd name="connsiteY6" fmla="*/ 0 h 7113022"/>
              <a:gd name="connsiteX0" fmla="*/ 2898 w 3674032"/>
              <a:gd name="connsiteY0" fmla="*/ 0 h 6872288"/>
              <a:gd name="connsiteX1" fmla="*/ 3674032 w 3674032"/>
              <a:gd name="connsiteY1" fmla="*/ 0 h 6872288"/>
              <a:gd name="connsiteX2" fmla="*/ 3674032 w 3674032"/>
              <a:gd name="connsiteY2" fmla="*/ 6 h 6872288"/>
              <a:gd name="connsiteX3" fmla="*/ 2450033 w 3674032"/>
              <a:gd name="connsiteY3" fmla="*/ 6872288 h 6872288"/>
              <a:gd name="connsiteX4" fmla="*/ 2450032 w 3674032"/>
              <a:gd name="connsiteY4" fmla="*/ 6872288 h 6872288"/>
              <a:gd name="connsiteX5" fmla="*/ 112 w 3674032"/>
              <a:gd name="connsiteY5" fmla="*/ 6864350 h 6872288"/>
              <a:gd name="connsiteX6" fmla="*/ 2898 w 3674032"/>
              <a:gd name="connsiteY6" fmla="*/ 0 h 687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4032" h="6872288">
                <a:moveTo>
                  <a:pt x="2898" y="0"/>
                </a:moveTo>
                <a:lnTo>
                  <a:pt x="3674032" y="0"/>
                </a:lnTo>
                <a:lnTo>
                  <a:pt x="3674032" y="6"/>
                </a:lnTo>
                <a:lnTo>
                  <a:pt x="2450033" y="6872288"/>
                </a:lnTo>
                <a:lnTo>
                  <a:pt x="2450032" y="6872288"/>
                </a:lnTo>
                <a:lnTo>
                  <a:pt x="112" y="6864350"/>
                </a:lnTo>
                <a:cubicBezTo>
                  <a:pt x="-760" y="5127625"/>
                  <a:pt x="3770" y="1736725"/>
                  <a:pt x="2898" y="0"/>
                </a:cubicBezTo>
                <a:close/>
              </a:path>
            </a:pathLst>
          </a:custGeom>
          <a:solidFill>
            <a:schemeClr val="accent1">
              <a:alpha val="32000"/>
            </a:schemeClr>
          </a:solidFill>
        </p:spPr>
        <p:txBody>
          <a:bodyPr wrap="square">
            <a:noAutofit/>
          </a:bodyPr>
          <a:lstStyle>
            <a:lvl1pPr>
              <a:lnSpc>
                <a:spcPct val="100000"/>
              </a:lnSpc>
              <a:defRPr/>
            </a:lvl1pPr>
          </a:lstStyle>
          <a:p>
            <a:pPr lvl="0"/>
            <a:r>
              <a:rPr lang="en-US" noProof="0"/>
              <a:t> </a:t>
            </a:r>
          </a:p>
        </p:txBody>
      </p:sp>
      <p:sp>
        <p:nvSpPr>
          <p:cNvPr id="53" name="Textplatzhalter 30">
            <a:extLst>
              <a:ext uri="{FF2B5EF4-FFF2-40B4-BE49-F238E27FC236}">
                <a16:creationId xmlns:a16="http://schemas.microsoft.com/office/drawing/2014/main" id="{523C2387-37A9-49ED-9F11-8B43DFC080AE}"/>
              </a:ext>
            </a:extLst>
          </p:cNvPr>
          <p:cNvSpPr>
            <a:spLocks noGrp="1"/>
          </p:cNvSpPr>
          <p:nvPr>
            <p:ph type="body" sz="quarter" idx="26" hasCustomPrompt="1"/>
          </p:nvPr>
        </p:nvSpPr>
        <p:spPr bwMode="gray">
          <a:xfrm>
            <a:off x="5231904" y="-1"/>
            <a:ext cx="2160000" cy="2780617"/>
          </a:xfrm>
          <a:prstGeom prst="rect">
            <a:avLst/>
          </a:prstGeom>
          <a:solidFill>
            <a:schemeClr val="accent1">
              <a:alpha val="20000"/>
            </a:schemeClr>
          </a:solidFill>
        </p:spPr>
        <p:txBody>
          <a:bodyPr wrap="square">
            <a:noAutofit/>
          </a:bodyPr>
          <a:lstStyle>
            <a:lvl1pPr>
              <a:lnSpc>
                <a:spcPct val="100000"/>
              </a:lnSpc>
              <a:defRPr/>
            </a:lvl1pPr>
          </a:lstStyle>
          <a:p>
            <a:pPr lvl="0"/>
            <a:r>
              <a:rPr lang="en-US" noProof="0"/>
              <a:t>  </a:t>
            </a:r>
          </a:p>
        </p:txBody>
      </p:sp>
      <p:sp>
        <p:nvSpPr>
          <p:cNvPr id="54" name="Textplatzhalter 31">
            <a:extLst>
              <a:ext uri="{FF2B5EF4-FFF2-40B4-BE49-F238E27FC236}">
                <a16:creationId xmlns:a16="http://schemas.microsoft.com/office/drawing/2014/main" id="{1956EDC8-8E27-4364-9986-F8D3E285318D}"/>
              </a:ext>
            </a:extLst>
          </p:cNvPr>
          <p:cNvSpPr>
            <a:spLocks noGrp="1"/>
          </p:cNvSpPr>
          <p:nvPr>
            <p:ph type="body" sz="quarter" idx="27" hasCustomPrompt="1"/>
          </p:nvPr>
        </p:nvSpPr>
        <p:spPr bwMode="gray">
          <a:xfrm>
            <a:off x="5231904" y="-3"/>
            <a:ext cx="1440000" cy="2780619"/>
          </a:xfrm>
          <a:prstGeom prst="rect">
            <a:avLst/>
          </a:prstGeom>
          <a:solidFill>
            <a:schemeClr val="accent1">
              <a:alpha val="46000"/>
            </a:schemeClr>
          </a:solidFill>
        </p:spPr>
        <p:txBody>
          <a:bodyPr wrap="square">
            <a:noAutofit/>
          </a:bodyPr>
          <a:lstStyle>
            <a:lvl1pPr>
              <a:lnSpc>
                <a:spcPct val="100000"/>
              </a:lnSpc>
              <a:defRPr/>
            </a:lvl1pPr>
          </a:lstStyle>
          <a:p>
            <a:pPr lvl="0"/>
            <a:r>
              <a:rPr lang="en-US" noProof="0"/>
              <a:t> </a:t>
            </a:r>
          </a:p>
        </p:txBody>
      </p:sp>
      <p:sp>
        <p:nvSpPr>
          <p:cNvPr id="55" name="Textplatzhalter 32">
            <a:extLst>
              <a:ext uri="{FF2B5EF4-FFF2-40B4-BE49-F238E27FC236}">
                <a16:creationId xmlns:a16="http://schemas.microsoft.com/office/drawing/2014/main" id="{6E46DEAF-EAF5-472E-81D7-CCF04AFFED58}"/>
              </a:ext>
            </a:extLst>
          </p:cNvPr>
          <p:cNvSpPr>
            <a:spLocks noGrp="1"/>
          </p:cNvSpPr>
          <p:nvPr>
            <p:ph type="body" sz="quarter" idx="28" hasCustomPrompt="1"/>
          </p:nvPr>
        </p:nvSpPr>
        <p:spPr bwMode="gray">
          <a:xfrm>
            <a:off x="5232064" y="-1"/>
            <a:ext cx="1440000" cy="2780618"/>
          </a:xfrm>
          <a:custGeom>
            <a:avLst/>
            <a:gdLst>
              <a:gd name="connsiteX0" fmla="*/ 0 w 2598738"/>
              <a:gd name="connsiteY0" fmla="*/ 0 h 6872288"/>
              <a:gd name="connsiteX1" fmla="*/ 2598738 w 2598738"/>
              <a:gd name="connsiteY1" fmla="*/ 0 h 6872288"/>
              <a:gd name="connsiteX2" fmla="*/ 2598738 w 2598738"/>
              <a:gd name="connsiteY2" fmla="*/ 42888 h 6872288"/>
              <a:gd name="connsiteX3" fmla="*/ 3566 w 2598738"/>
              <a:gd name="connsiteY3" fmla="*/ 6872288 h 6872288"/>
              <a:gd name="connsiteX4" fmla="*/ 0 w 2598738"/>
              <a:gd name="connsiteY4" fmla="*/ 6872288 h 6872288"/>
              <a:gd name="connsiteX0" fmla="*/ 0 w 2598738"/>
              <a:gd name="connsiteY0" fmla="*/ 0 h 6872288"/>
              <a:gd name="connsiteX1" fmla="*/ 2598738 w 2598738"/>
              <a:gd name="connsiteY1" fmla="*/ 0 h 6872288"/>
              <a:gd name="connsiteX2" fmla="*/ 3566 w 2598738"/>
              <a:gd name="connsiteY2" fmla="*/ 6872288 h 6872288"/>
              <a:gd name="connsiteX3" fmla="*/ 0 w 2598738"/>
              <a:gd name="connsiteY3" fmla="*/ 6872288 h 6872288"/>
              <a:gd name="connsiteX4" fmla="*/ 0 w 2598738"/>
              <a:gd name="connsiteY4" fmla="*/ 0 h 68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8738" h="6872288">
                <a:moveTo>
                  <a:pt x="0" y="0"/>
                </a:moveTo>
                <a:lnTo>
                  <a:pt x="2598738" y="0"/>
                </a:lnTo>
                <a:lnTo>
                  <a:pt x="3566" y="6872288"/>
                </a:lnTo>
                <a:lnTo>
                  <a:pt x="0" y="6872288"/>
                </a:lnTo>
                <a:lnTo>
                  <a:pt x="0" y="0"/>
                </a:lnTo>
                <a:close/>
              </a:path>
            </a:pathLst>
          </a:custGeom>
          <a:solidFill>
            <a:schemeClr val="accent1">
              <a:alpha val="56000"/>
            </a:schemeClr>
          </a:solidFill>
        </p:spPr>
        <p:txBody>
          <a:bodyPr wrap="square">
            <a:noAutofit/>
          </a:bodyPr>
          <a:lstStyle>
            <a:lvl1pPr>
              <a:lnSpc>
                <a:spcPct val="100000"/>
              </a:lnSpc>
              <a:defRPr/>
            </a:lvl1pPr>
          </a:lstStyle>
          <a:p>
            <a:pPr lvl="0"/>
            <a:r>
              <a:rPr lang="en-US" noProof="0"/>
              <a:t> </a:t>
            </a:r>
          </a:p>
        </p:txBody>
      </p:sp>
      <p:sp>
        <p:nvSpPr>
          <p:cNvPr id="51" name="Rechteck 50">
            <a:extLst>
              <a:ext uri="{FF2B5EF4-FFF2-40B4-BE49-F238E27FC236}">
                <a16:creationId xmlns:a16="http://schemas.microsoft.com/office/drawing/2014/main" id="{6E855957-DE44-4CDE-9FCD-D5DF18FABC56}"/>
              </a:ext>
            </a:extLst>
          </p:cNvPr>
          <p:cNvSpPr/>
          <p:nvPr userDrawn="1"/>
        </p:nvSpPr>
        <p:spPr bwMode="gray">
          <a:xfrm>
            <a:off x="0" y="-1"/>
            <a:ext cx="5256000" cy="27806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noProof="0"/>
          </a:p>
        </p:txBody>
      </p:sp>
      <p:sp>
        <p:nvSpPr>
          <p:cNvPr id="36" name="Textplatzhalter 7">
            <a:extLst>
              <a:ext uri="{FF2B5EF4-FFF2-40B4-BE49-F238E27FC236}">
                <a16:creationId xmlns:a16="http://schemas.microsoft.com/office/drawing/2014/main" id="{4E098FEE-0A30-4982-8FCE-A7561D270902}"/>
              </a:ext>
            </a:extLst>
          </p:cNvPr>
          <p:cNvSpPr>
            <a:spLocks noGrp="1"/>
          </p:cNvSpPr>
          <p:nvPr>
            <p:ph type="body" sz="quarter" idx="16" hasCustomPrompt="1"/>
          </p:nvPr>
        </p:nvSpPr>
        <p:spPr bwMode="gray">
          <a:xfrm>
            <a:off x="407368" y="3573016"/>
            <a:ext cx="3168000" cy="936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text</a:t>
            </a:r>
          </a:p>
        </p:txBody>
      </p:sp>
      <p:sp>
        <p:nvSpPr>
          <p:cNvPr id="37" name="Textplatzhalter 7">
            <a:extLst>
              <a:ext uri="{FF2B5EF4-FFF2-40B4-BE49-F238E27FC236}">
                <a16:creationId xmlns:a16="http://schemas.microsoft.com/office/drawing/2014/main" id="{2696D294-12A3-442F-8CC4-9E655211DAA2}"/>
              </a:ext>
            </a:extLst>
          </p:cNvPr>
          <p:cNvSpPr>
            <a:spLocks noGrp="1"/>
          </p:cNvSpPr>
          <p:nvPr>
            <p:ph type="body" sz="quarter" idx="17" hasCustomPrompt="1"/>
          </p:nvPr>
        </p:nvSpPr>
        <p:spPr bwMode="gray">
          <a:xfrm>
            <a:off x="4511824" y="3573016"/>
            <a:ext cx="3168000" cy="936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text</a:t>
            </a:r>
          </a:p>
        </p:txBody>
      </p:sp>
      <p:sp>
        <p:nvSpPr>
          <p:cNvPr id="38" name="Textplatzhalter 7">
            <a:extLst>
              <a:ext uri="{FF2B5EF4-FFF2-40B4-BE49-F238E27FC236}">
                <a16:creationId xmlns:a16="http://schemas.microsoft.com/office/drawing/2014/main" id="{391F01F1-7954-4F1E-AA98-3B544B676DE1}"/>
              </a:ext>
            </a:extLst>
          </p:cNvPr>
          <p:cNvSpPr>
            <a:spLocks noGrp="1"/>
          </p:cNvSpPr>
          <p:nvPr>
            <p:ph type="body" sz="quarter" idx="18" hasCustomPrompt="1"/>
          </p:nvPr>
        </p:nvSpPr>
        <p:spPr bwMode="gray">
          <a:xfrm>
            <a:off x="8616280" y="3573016"/>
            <a:ext cx="3168000" cy="936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text</a:t>
            </a:r>
          </a:p>
        </p:txBody>
      </p:sp>
      <p:sp>
        <p:nvSpPr>
          <p:cNvPr id="42" name="Textplatzhalter 7">
            <a:extLst>
              <a:ext uri="{FF2B5EF4-FFF2-40B4-BE49-F238E27FC236}">
                <a16:creationId xmlns:a16="http://schemas.microsoft.com/office/drawing/2014/main" id="{248A1BF3-2933-42DE-9A40-CCAE572913D8}"/>
              </a:ext>
            </a:extLst>
          </p:cNvPr>
          <p:cNvSpPr>
            <a:spLocks noGrp="1"/>
          </p:cNvSpPr>
          <p:nvPr>
            <p:ph type="body" sz="quarter" idx="29" hasCustomPrompt="1"/>
          </p:nvPr>
        </p:nvSpPr>
        <p:spPr bwMode="gray">
          <a:xfrm>
            <a:off x="407368" y="5373320"/>
            <a:ext cx="3168000" cy="936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text</a:t>
            </a:r>
          </a:p>
        </p:txBody>
      </p:sp>
      <p:sp>
        <p:nvSpPr>
          <p:cNvPr id="43" name="Textplatzhalter 7">
            <a:extLst>
              <a:ext uri="{FF2B5EF4-FFF2-40B4-BE49-F238E27FC236}">
                <a16:creationId xmlns:a16="http://schemas.microsoft.com/office/drawing/2014/main" id="{8A08FBD2-8E3F-4E2F-81F1-0369A5415F44}"/>
              </a:ext>
            </a:extLst>
          </p:cNvPr>
          <p:cNvSpPr>
            <a:spLocks noGrp="1"/>
          </p:cNvSpPr>
          <p:nvPr>
            <p:ph type="body" sz="quarter" idx="30" hasCustomPrompt="1"/>
          </p:nvPr>
        </p:nvSpPr>
        <p:spPr bwMode="gray">
          <a:xfrm>
            <a:off x="4511824" y="5373320"/>
            <a:ext cx="3168000" cy="936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text</a:t>
            </a:r>
          </a:p>
        </p:txBody>
      </p:sp>
      <p:sp>
        <p:nvSpPr>
          <p:cNvPr id="44" name="Textplatzhalter 7">
            <a:extLst>
              <a:ext uri="{FF2B5EF4-FFF2-40B4-BE49-F238E27FC236}">
                <a16:creationId xmlns:a16="http://schemas.microsoft.com/office/drawing/2014/main" id="{2128C997-D8DA-4C52-9075-CE52DA35ED50}"/>
              </a:ext>
            </a:extLst>
          </p:cNvPr>
          <p:cNvSpPr>
            <a:spLocks noGrp="1"/>
          </p:cNvSpPr>
          <p:nvPr>
            <p:ph type="body" sz="quarter" idx="31" hasCustomPrompt="1"/>
          </p:nvPr>
        </p:nvSpPr>
        <p:spPr bwMode="gray">
          <a:xfrm>
            <a:off x="8616280" y="5373320"/>
            <a:ext cx="3168000" cy="936000"/>
          </a:xfrm>
        </p:spPr>
        <p:txBody>
          <a:bodyPr anchor="t"/>
          <a:lstStyle>
            <a:lvl1pPr marL="0" indent="0">
              <a:lnSpc>
                <a:spcPct val="100000"/>
              </a:lnSpc>
              <a:spcBef>
                <a:spcPts val="0"/>
              </a:spcBef>
              <a:spcAft>
                <a:spcPts val="0"/>
              </a:spcAft>
              <a:buFont typeface="Arial" panose="020B0604020202020204" pitchFamily="34" charset="0"/>
              <a:buNone/>
              <a:defRPr sz="2100" b="0">
                <a:solidFill>
                  <a:schemeClr val="tx1"/>
                </a:solidFill>
              </a:defRPr>
            </a:lvl1pPr>
            <a:lvl2pPr marL="0" indent="0">
              <a:spcBef>
                <a:spcPts val="0"/>
              </a:spcBef>
              <a:spcAft>
                <a:spcPts val="0"/>
              </a:spcAft>
              <a:buFont typeface="Arial" panose="020B0604020202020204" pitchFamily="34" charset="0"/>
              <a:buNone/>
              <a:defRPr sz="2100" b="0">
                <a:solidFill>
                  <a:schemeClr val="tx1"/>
                </a:solidFill>
              </a:defRPr>
            </a:lvl2pPr>
            <a:lvl3pPr marL="0" indent="0">
              <a:spcBef>
                <a:spcPts val="0"/>
              </a:spcBef>
              <a:spcAft>
                <a:spcPts val="0"/>
              </a:spcAft>
              <a:buNone/>
              <a:defRPr sz="2100" b="0">
                <a:solidFill>
                  <a:schemeClr val="tx1"/>
                </a:solidFill>
              </a:defRPr>
            </a:lvl3pPr>
            <a:lvl4pPr marL="0" indent="0">
              <a:spcBef>
                <a:spcPts val="0"/>
              </a:spcBef>
              <a:spcAft>
                <a:spcPts val="0"/>
              </a:spcAft>
              <a:buNone/>
              <a:defRPr sz="2100" b="0">
                <a:solidFill>
                  <a:schemeClr val="tx1"/>
                </a:solidFill>
              </a:defRPr>
            </a:lvl4pPr>
            <a:lvl5pPr marL="0" indent="0">
              <a:spcBef>
                <a:spcPts val="0"/>
              </a:spcBef>
              <a:spcAft>
                <a:spcPts val="0"/>
              </a:spcAft>
              <a:buNone/>
              <a:defRPr sz="2100" b="0">
                <a:solidFill>
                  <a:schemeClr val="tx1"/>
                </a:solidFill>
              </a:defRPr>
            </a:lvl5pPr>
            <a:lvl6pPr marL="0" indent="0">
              <a:spcBef>
                <a:spcPts val="0"/>
              </a:spcBef>
              <a:spcAft>
                <a:spcPts val="0"/>
              </a:spcAft>
              <a:buNone/>
              <a:defRPr sz="2100" b="0">
                <a:solidFill>
                  <a:schemeClr val="tx1"/>
                </a:solidFill>
              </a:defRPr>
            </a:lvl6pPr>
            <a:lvl7pPr marL="0" indent="0">
              <a:spcBef>
                <a:spcPts val="0"/>
              </a:spcBef>
              <a:spcAft>
                <a:spcPts val="0"/>
              </a:spcAft>
              <a:buNone/>
              <a:defRPr sz="2100" b="0">
                <a:solidFill>
                  <a:schemeClr val="tx1"/>
                </a:solidFill>
              </a:defRPr>
            </a:lvl7pPr>
            <a:lvl8pPr marL="0" indent="0">
              <a:spcBef>
                <a:spcPts val="0"/>
              </a:spcBef>
              <a:spcAft>
                <a:spcPts val="0"/>
              </a:spcAft>
              <a:buNone/>
              <a:defRPr sz="2100" b="0">
                <a:solidFill>
                  <a:schemeClr val="tx1"/>
                </a:solidFill>
              </a:defRPr>
            </a:lvl8pPr>
            <a:lvl9pPr marL="0" indent="0">
              <a:spcBef>
                <a:spcPts val="0"/>
              </a:spcBef>
              <a:spcAft>
                <a:spcPts val="0"/>
              </a:spcAft>
              <a:buNone/>
              <a:defRPr sz="2100" b="0">
                <a:solidFill>
                  <a:schemeClr val="tx1"/>
                </a:solidFill>
              </a:defRPr>
            </a:lvl9pPr>
          </a:lstStyle>
          <a:p>
            <a:pPr lvl="0"/>
            <a:r>
              <a:rPr lang="en-US" noProof="0"/>
              <a:t>Click to add text</a:t>
            </a:r>
          </a:p>
        </p:txBody>
      </p:sp>
      <p:sp>
        <p:nvSpPr>
          <p:cNvPr id="24" name="Textplatzhalter 23">
            <a:extLst>
              <a:ext uri="{FF2B5EF4-FFF2-40B4-BE49-F238E27FC236}">
                <a16:creationId xmlns:a16="http://schemas.microsoft.com/office/drawing/2014/main" id="{1B3563F5-1A71-48CE-8247-FC64946F6D32}"/>
              </a:ext>
            </a:extLst>
          </p:cNvPr>
          <p:cNvSpPr>
            <a:spLocks noGrp="1"/>
          </p:cNvSpPr>
          <p:nvPr>
            <p:ph type="body" sz="quarter" idx="32" hasCustomPrompt="1"/>
          </p:nvPr>
        </p:nvSpPr>
        <p:spPr bwMode="gray">
          <a:xfrm>
            <a:off x="407369" y="4869224"/>
            <a:ext cx="360000" cy="360000"/>
          </a:xfrm>
          <a:custGeom>
            <a:avLst/>
            <a:gdLst/>
            <a:ahLst/>
            <a:cxnLst/>
            <a:rect l="l" t="t" r="r" b="b"/>
            <a:pathLst>
              <a:path w="360000" h="360000">
                <a:moveTo>
                  <a:pt x="187647" y="123901"/>
                </a:moveTo>
                <a:lnTo>
                  <a:pt x="187647" y="209979"/>
                </a:lnTo>
                <a:lnTo>
                  <a:pt x="127874" y="209979"/>
                </a:lnTo>
                <a:close/>
                <a:moveTo>
                  <a:pt x="191945" y="86266"/>
                </a:moveTo>
                <a:lnTo>
                  <a:pt x="104824" y="209979"/>
                </a:lnTo>
                <a:lnTo>
                  <a:pt x="104824" y="231466"/>
                </a:lnTo>
                <a:lnTo>
                  <a:pt x="187647" y="231466"/>
                </a:lnTo>
                <a:lnTo>
                  <a:pt x="187647" y="277175"/>
                </a:lnTo>
                <a:lnTo>
                  <a:pt x="211088" y="277175"/>
                </a:lnTo>
                <a:lnTo>
                  <a:pt x="211088" y="231466"/>
                </a:lnTo>
                <a:lnTo>
                  <a:pt x="236872" y="231466"/>
                </a:lnTo>
                <a:lnTo>
                  <a:pt x="236872" y="209979"/>
                </a:lnTo>
                <a:lnTo>
                  <a:pt x="211088" y="209979"/>
                </a:lnTo>
                <a:lnTo>
                  <a:pt x="211088" y="86266"/>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7" name="Textplatzhalter 26">
            <a:extLst>
              <a:ext uri="{FF2B5EF4-FFF2-40B4-BE49-F238E27FC236}">
                <a16:creationId xmlns:a16="http://schemas.microsoft.com/office/drawing/2014/main" id="{23E892BF-31D1-47D7-943F-D6B2D1AD893A}"/>
              </a:ext>
            </a:extLst>
          </p:cNvPr>
          <p:cNvSpPr>
            <a:spLocks noGrp="1"/>
          </p:cNvSpPr>
          <p:nvPr>
            <p:ph type="body" sz="quarter" idx="33" hasCustomPrompt="1"/>
          </p:nvPr>
        </p:nvSpPr>
        <p:spPr bwMode="gray">
          <a:xfrm>
            <a:off x="4511824" y="4869264"/>
            <a:ext cx="360000" cy="360000"/>
          </a:xfrm>
          <a:custGeom>
            <a:avLst/>
            <a:gdLst/>
            <a:ahLst/>
            <a:cxnLst/>
            <a:rect l="l" t="t" r="r" b="b"/>
            <a:pathLst>
              <a:path w="360000" h="360000">
                <a:moveTo>
                  <a:pt x="135127" y="88790"/>
                </a:moveTo>
                <a:lnTo>
                  <a:pt x="116635" y="186850"/>
                </a:lnTo>
                <a:lnTo>
                  <a:pt x="138643" y="189715"/>
                </a:lnTo>
                <a:cubicBezTo>
                  <a:pt x="142116" y="184245"/>
                  <a:pt x="146891" y="179796"/>
                  <a:pt x="152968" y="176367"/>
                </a:cubicBezTo>
                <a:cubicBezTo>
                  <a:pt x="159045" y="172937"/>
                  <a:pt x="165860" y="171223"/>
                  <a:pt x="173413" y="171223"/>
                </a:cubicBezTo>
                <a:cubicBezTo>
                  <a:pt x="185567" y="171223"/>
                  <a:pt x="195399" y="175086"/>
                  <a:pt x="202909" y="182813"/>
                </a:cubicBezTo>
                <a:cubicBezTo>
                  <a:pt x="210418" y="190539"/>
                  <a:pt x="214173" y="201087"/>
                  <a:pt x="214173" y="214457"/>
                </a:cubicBezTo>
                <a:cubicBezTo>
                  <a:pt x="214173" y="228521"/>
                  <a:pt x="210267" y="239808"/>
                  <a:pt x="202453" y="248316"/>
                </a:cubicBezTo>
                <a:cubicBezTo>
                  <a:pt x="194640" y="256824"/>
                  <a:pt x="185090" y="261078"/>
                  <a:pt x="173804" y="261078"/>
                </a:cubicBezTo>
                <a:cubicBezTo>
                  <a:pt x="164427" y="261078"/>
                  <a:pt x="156419" y="258061"/>
                  <a:pt x="149777" y="252027"/>
                </a:cubicBezTo>
                <a:cubicBezTo>
                  <a:pt x="143136" y="245993"/>
                  <a:pt x="138903" y="236986"/>
                  <a:pt x="137080" y="225005"/>
                </a:cubicBezTo>
                <a:lnTo>
                  <a:pt x="112468" y="227089"/>
                </a:lnTo>
                <a:cubicBezTo>
                  <a:pt x="114031" y="243150"/>
                  <a:pt x="120303" y="256042"/>
                  <a:pt x="131285" y="265766"/>
                </a:cubicBezTo>
                <a:cubicBezTo>
                  <a:pt x="142268" y="275489"/>
                  <a:pt x="156440" y="280351"/>
                  <a:pt x="173804" y="280351"/>
                </a:cubicBezTo>
                <a:cubicBezTo>
                  <a:pt x="194987" y="280351"/>
                  <a:pt x="211699" y="272624"/>
                  <a:pt x="223940" y="257171"/>
                </a:cubicBezTo>
                <a:cubicBezTo>
                  <a:pt x="234011" y="244582"/>
                  <a:pt x="239046" y="229650"/>
                  <a:pt x="239046" y="212374"/>
                </a:cubicBezTo>
                <a:cubicBezTo>
                  <a:pt x="239046" y="194229"/>
                  <a:pt x="233316" y="179383"/>
                  <a:pt x="221857" y="167837"/>
                </a:cubicBezTo>
                <a:cubicBezTo>
                  <a:pt x="210397" y="156290"/>
                  <a:pt x="196332" y="150517"/>
                  <a:pt x="179664" y="150517"/>
                </a:cubicBezTo>
                <a:cubicBezTo>
                  <a:pt x="167075" y="150517"/>
                  <a:pt x="155051" y="154510"/>
                  <a:pt x="143592" y="162498"/>
                </a:cubicBezTo>
                <a:lnTo>
                  <a:pt x="153879" y="111189"/>
                </a:lnTo>
                <a:lnTo>
                  <a:pt x="230061" y="111189"/>
                </a:lnTo>
                <a:lnTo>
                  <a:pt x="230061" y="88790"/>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9" name="Textplatzhalter 28">
            <a:extLst>
              <a:ext uri="{FF2B5EF4-FFF2-40B4-BE49-F238E27FC236}">
                <a16:creationId xmlns:a16="http://schemas.microsoft.com/office/drawing/2014/main" id="{CE645BBE-FA98-499C-8EC9-B62B150467E1}"/>
              </a:ext>
            </a:extLst>
          </p:cNvPr>
          <p:cNvSpPr>
            <a:spLocks noGrp="1"/>
          </p:cNvSpPr>
          <p:nvPr>
            <p:ph type="body" sz="quarter" idx="34" hasCustomPrompt="1"/>
          </p:nvPr>
        </p:nvSpPr>
        <p:spPr bwMode="gray">
          <a:xfrm>
            <a:off x="8616280" y="4869264"/>
            <a:ext cx="360000" cy="360000"/>
          </a:xfrm>
          <a:custGeom>
            <a:avLst/>
            <a:gdLst/>
            <a:ahLst/>
            <a:cxnLst/>
            <a:rect l="l" t="t" r="r" b="b"/>
            <a:pathLst>
              <a:path w="360000" h="360000">
                <a:moveTo>
                  <a:pt x="176448" y="174037"/>
                </a:moveTo>
                <a:cubicBezTo>
                  <a:pt x="187126" y="174037"/>
                  <a:pt x="195982" y="177836"/>
                  <a:pt x="203014" y="185432"/>
                </a:cubicBezTo>
                <a:cubicBezTo>
                  <a:pt x="210046" y="193028"/>
                  <a:pt x="213562" y="203425"/>
                  <a:pt x="213562" y="216621"/>
                </a:cubicBezTo>
                <a:cubicBezTo>
                  <a:pt x="213562" y="230338"/>
                  <a:pt x="210002" y="241190"/>
                  <a:pt x="202883" y="249177"/>
                </a:cubicBezTo>
                <a:cubicBezTo>
                  <a:pt x="195765" y="257164"/>
                  <a:pt x="187257" y="261158"/>
                  <a:pt x="177359" y="261158"/>
                </a:cubicBezTo>
                <a:cubicBezTo>
                  <a:pt x="170588" y="261158"/>
                  <a:pt x="164120" y="259226"/>
                  <a:pt x="157956" y="255363"/>
                </a:cubicBezTo>
                <a:cubicBezTo>
                  <a:pt x="151792" y="251499"/>
                  <a:pt x="146995" y="245878"/>
                  <a:pt x="143566" y="238499"/>
                </a:cubicBezTo>
                <a:cubicBezTo>
                  <a:pt x="140137" y="231119"/>
                  <a:pt x="138422" y="223392"/>
                  <a:pt x="138422" y="215319"/>
                </a:cubicBezTo>
                <a:cubicBezTo>
                  <a:pt x="138422" y="202991"/>
                  <a:pt x="142112" y="193028"/>
                  <a:pt x="149491" y="185432"/>
                </a:cubicBezTo>
                <a:cubicBezTo>
                  <a:pt x="156871" y="177836"/>
                  <a:pt x="165856" y="174037"/>
                  <a:pt x="176448" y="174037"/>
                </a:cubicBezTo>
                <a:close/>
                <a:moveTo>
                  <a:pt x="179964" y="85485"/>
                </a:moveTo>
                <a:cubicBezTo>
                  <a:pt x="159823" y="85485"/>
                  <a:pt x="143805" y="92777"/>
                  <a:pt x="131911" y="107362"/>
                </a:cubicBezTo>
                <a:cubicBezTo>
                  <a:pt x="118281" y="124118"/>
                  <a:pt x="111466" y="150944"/>
                  <a:pt x="111466" y="187841"/>
                </a:cubicBezTo>
                <a:cubicBezTo>
                  <a:pt x="111466" y="220831"/>
                  <a:pt x="117630" y="244511"/>
                  <a:pt x="129958" y="258879"/>
                </a:cubicBezTo>
                <a:cubicBezTo>
                  <a:pt x="142286" y="273247"/>
                  <a:pt x="158216" y="280431"/>
                  <a:pt x="177750" y="280431"/>
                </a:cubicBezTo>
                <a:cubicBezTo>
                  <a:pt x="189210" y="280431"/>
                  <a:pt x="199454" y="277696"/>
                  <a:pt x="208483" y="272227"/>
                </a:cubicBezTo>
                <a:cubicBezTo>
                  <a:pt x="217512" y="266757"/>
                  <a:pt x="224609" y="258879"/>
                  <a:pt x="229775" y="248591"/>
                </a:cubicBezTo>
                <a:cubicBezTo>
                  <a:pt x="234940" y="238303"/>
                  <a:pt x="237523" y="227169"/>
                  <a:pt x="237523" y="215188"/>
                </a:cubicBezTo>
                <a:cubicBezTo>
                  <a:pt x="237523" y="196957"/>
                  <a:pt x="232032" y="182090"/>
                  <a:pt x="221050" y="170586"/>
                </a:cubicBezTo>
                <a:cubicBezTo>
                  <a:pt x="210068" y="159083"/>
                  <a:pt x="196763" y="153332"/>
                  <a:pt x="181136" y="153332"/>
                </a:cubicBezTo>
                <a:cubicBezTo>
                  <a:pt x="172194" y="153332"/>
                  <a:pt x="163642" y="155415"/>
                  <a:pt x="155482" y="159582"/>
                </a:cubicBezTo>
                <a:cubicBezTo>
                  <a:pt x="147321" y="163750"/>
                  <a:pt x="140419" y="170131"/>
                  <a:pt x="134776" y="178725"/>
                </a:cubicBezTo>
                <a:cubicBezTo>
                  <a:pt x="134950" y="159626"/>
                  <a:pt x="137163" y="144910"/>
                  <a:pt x="141417" y="134579"/>
                </a:cubicBezTo>
                <a:cubicBezTo>
                  <a:pt x="145671" y="124248"/>
                  <a:pt x="151488" y="116391"/>
                  <a:pt x="158868" y="111009"/>
                </a:cubicBezTo>
                <a:cubicBezTo>
                  <a:pt x="164511" y="106841"/>
                  <a:pt x="171065" y="104758"/>
                  <a:pt x="178531" y="104758"/>
                </a:cubicBezTo>
                <a:cubicBezTo>
                  <a:pt x="187821" y="104758"/>
                  <a:pt x="195634" y="108100"/>
                  <a:pt x="201972" y="114785"/>
                </a:cubicBezTo>
                <a:cubicBezTo>
                  <a:pt x="205792" y="118952"/>
                  <a:pt x="208744" y="125637"/>
                  <a:pt x="210827" y="134840"/>
                </a:cubicBezTo>
                <a:lnTo>
                  <a:pt x="234137" y="133017"/>
                </a:lnTo>
                <a:cubicBezTo>
                  <a:pt x="232227" y="118171"/>
                  <a:pt x="226476" y="106538"/>
                  <a:pt x="216883" y="98116"/>
                </a:cubicBezTo>
                <a:cubicBezTo>
                  <a:pt x="207289" y="89695"/>
                  <a:pt x="194983" y="85485"/>
                  <a:pt x="179964" y="8548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49" name="Titel 1">
            <a:extLst>
              <a:ext uri="{FF2B5EF4-FFF2-40B4-BE49-F238E27FC236}">
                <a16:creationId xmlns:a16="http://schemas.microsoft.com/office/drawing/2014/main" id="{23E1E2F0-5E01-4C12-AB4D-D95130DF7133}"/>
              </a:ext>
            </a:extLst>
          </p:cNvPr>
          <p:cNvSpPr>
            <a:spLocks noGrp="1"/>
          </p:cNvSpPr>
          <p:nvPr>
            <p:ph type="title" hasCustomPrompt="1"/>
          </p:nvPr>
        </p:nvSpPr>
        <p:spPr bwMode="gray">
          <a:xfrm>
            <a:off x="407368" y="764700"/>
            <a:ext cx="4536504" cy="1619964"/>
          </a:xfrm>
        </p:spPr>
        <p:txBody>
          <a:bodyPr anchor="b" anchorCtr="0"/>
          <a:lstStyle>
            <a:lvl1pPr>
              <a:lnSpc>
                <a:spcPct val="100000"/>
              </a:lnSpc>
              <a:defRPr sz="3600" b="0">
                <a:solidFill>
                  <a:schemeClr val="bg1"/>
                </a:solidFill>
              </a:defRPr>
            </a:lvl1pPr>
          </a:lstStyle>
          <a:p>
            <a:r>
              <a:rPr lang="en-US" noProof="0"/>
              <a:t>Click to add the title of the presentation</a:t>
            </a:r>
          </a:p>
        </p:txBody>
      </p:sp>
      <p:sp>
        <p:nvSpPr>
          <p:cNvPr id="56" name="Textplatzhalter 9">
            <a:extLst>
              <a:ext uri="{FF2B5EF4-FFF2-40B4-BE49-F238E27FC236}">
                <a16:creationId xmlns:a16="http://schemas.microsoft.com/office/drawing/2014/main" id="{F4BD268A-CADD-42F2-9EA0-C3762304928A}"/>
              </a:ext>
            </a:extLst>
          </p:cNvPr>
          <p:cNvSpPr>
            <a:spLocks noGrp="1"/>
          </p:cNvSpPr>
          <p:nvPr>
            <p:ph type="body" sz="quarter" idx="35" hasCustomPrompt="1"/>
          </p:nvPr>
        </p:nvSpPr>
        <p:spPr bwMode="gray">
          <a:xfrm>
            <a:off x="407368" y="404664"/>
            <a:ext cx="215900" cy="216000"/>
          </a:xfrm>
          <a:blipFill>
            <a:blip r:embed="rId2"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
        <p:nvSpPr>
          <p:cNvPr id="22" name="Textplatzhalter 19">
            <a:extLst>
              <a:ext uri="{FF2B5EF4-FFF2-40B4-BE49-F238E27FC236}">
                <a16:creationId xmlns:a16="http://schemas.microsoft.com/office/drawing/2014/main" id="{CE3FB1D9-3001-4291-8F1A-DB4EC1EE3DA2}"/>
              </a:ext>
            </a:extLst>
          </p:cNvPr>
          <p:cNvSpPr>
            <a:spLocks noGrp="1"/>
          </p:cNvSpPr>
          <p:nvPr>
            <p:ph type="body" sz="quarter" idx="19" hasCustomPrompt="1"/>
          </p:nvPr>
        </p:nvSpPr>
        <p:spPr bwMode="gray">
          <a:xfrm>
            <a:off x="407348" y="3068980"/>
            <a:ext cx="360000" cy="360000"/>
          </a:xfrm>
          <a:custGeom>
            <a:avLst/>
            <a:gdLst/>
            <a:ahLst/>
            <a:cxnLst/>
            <a:rect l="l" t="t" r="r" b="b"/>
            <a:pathLst>
              <a:path w="360000" h="360000">
                <a:moveTo>
                  <a:pt x="185674" y="85465"/>
                </a:moveTo>
                <a:cubicBezTo>
                  <a:pt x="181593" y="93712"/>
                  <a:pt x="174648" y="102220"/>
                  <a:pt x="164838" y="110989"/>
                </a:cubicBezTo>
                <a:cubicBezTo>
                  <a:pt x="155028" y="119757"/>
                  <a:pt x="143568" y="127223"/>
                  <a:pt x="130459" y="133387"/>
                </a:cubicBezTo>
                <a:lnTo>
                  <a:pt x="130459" y="156046"/>
                </a:lnTo>
                <a:cubicBezTo>
                  <a:pt x="137751" y="153355"/>
                  <a:pt x="145977" y="149318"/>
                  <a:pt x="155136" y="143935"/>
                </a:cubicBezTo>
                <a:cubicBezTo>
                  <a:pt x="164295" y="138553"/>
                  <a:pt x="171696" y="133170"/>
                  <a:pt x="177339" y="127787"/>
                </a:cubicBezTo>
                <a:lnTo>
                  <a:pt x="177339" y="277155"/>
                </a:lnTo>
                <a:lnTo>
                  <a:pt x="200780" y="277155"/>
                </a:lnTo>
                <a:lnTo>
                  <a:pt x="200780" y="85465"/>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Font typeface="Arial" panose="020B0604020202020204" pitchFamily="34" charset="0"/>
              <a:buNone/>
              <a:defRPr sz="600" b="0">
                <a:solidFill>
                  <a:schemeClr val="bg1">
                    <a:alpha val="0"/>
                  </a:schemeClr>
                </a:solidFill>
              </a:defRPr>
            </a:lvl3pPr>
            <a:lvl4pPr marL="0" indent="0" algn="ctr">
              <a:buFont typeface="Arial" panose="020B0604020202020204" pitchFamily="34" charset="0"/>
              <a:buNone/>
              <a:defRPr sz="600" b="0">
                <a:solidFill>
                  <a:schemeClr val="bg1">
                    <a:alpha val="0"/>
                  </a:schemeClr>
                </a:solidFill>
              </a:defRPr>
            </a:lvl4pPr>
            <a:lvl5pPr marL="0" indent="0" algn="ctr">
              <a:buFont typeface="Arial" panose="020B0604020202020204" pitchFamily="34" charset="0"/>
              <a:buNone/>
              <a:defRPr sz="600" b="0">
                <a:solidFill>
                  <a:schemeClr val="bg1">
                    <a:alpha val="0"/>
                  </a:schemeClr>
                </a:solidFill>
              </a:defRPr>
            </a:lvl5pPr>
            <a:lvl6pPr marL="0" indent="0" algn="ctr">
              <a:buFont typeface="Arial" panose="020B0604020202020204" pitchFamily="34" charset="0"/>
              <a:buNone/>
              <a:defRPr sz="600" b="0">
                <a:solidFill>
                  <a:schemeClr val="bg1">
                    <a:alpha val="0"/>
                  </a:schemeClr>
                </a:solidFill>
              </a:defRPr>
            </a:lvl6pPr>
            <a:lvl7pPr marL="0" indent="0" algn="ctr">
              <a:buFont typeface="Arial" panose="020B0604020202020204" pitchFamily="34" charset="0"/>
              <a:buNone/>
              <a:defRPr sz="600" b="0">
                <a:solidFill>
                  <a:schemeClr val="bg1">
                    <a:alpha val="0"/>
                  </a:schemeClr>
                </a:solidFill>
              </a:defRPr>
            </a:lvl7pPr>
            <a:lvl8pPr marL="0" indent="0" algn="ctr">
              <a:buFont typeface="Arial" panose="020B0604020202020204" pitchFamily="34" charset="0"/>
              <a:buNone/>
              <a:defRPr sz="600" b="0">
                <a:solidFill>
                  <a:schemeClr val="bg1">
                    <a:alpha val="0"/>
                  </a:schemeClr>
                </a:solidFill>
              </a:defRPr>
            </a:lvl8pPr>
            <a:lvl9pPr marL="0" indent="0" algn="ctr">
              <a:buFont typeface="Arial" panose="020B0604020202020204" pitchFamily="34" charset="0"/>
              <a:buNone/>
              <a:defRPr sz="600" b="0">
                <a:solidFill>
                  <a:schemeClr val="bg1">
                    <a:alpha val="0"/>
                  </a:schemeClr>
                </a:solidFill>
              </a:defRPr>
            </a:lvl9pPr>
          </a:lstStyle>
          <a:p>
            <a:pPr lvl="0"/>
            <a:r>
              <a:rPr lang="en-US" noProof="0"/>
              <a:t>  </a:t>
            </a:r>
          </a:p>
        </p:txBody>
      </p:sp>
      <p:sp>
        <p:nvSpPr>
          <p:cNvPr id="23" name="Textplatzhalter 31">
            <a:extLst>
              <a:ext uri="{FF2B5EF4-FFF2-40B4-BE49-F238E27FC236}">
                <a16:creationId xmlns:a16="http://schemas.microsoft.com/office/drawing/2014/main" id="{711591BD-E95C-464D-8A40-4225EA24EED1}"/>
              </a:ext>
            </a:extLst>
          </p:cNvPr>
          <p:cNvSpPr>
            <a:spLocks noGrp="1"/>
          </p:cNvSpPr>
          <p:nvPr>
            <p:ph type="body" sz="quarter" idx="20" hasCustomPrompt="1"/>
          </p:nvPr>
        </p:nvSpPr>
        <p:spPr bwMode="gray">
          <a:xfrm>
            <a:off x="4511844" y="3068980"/>
            <a:ext cx="360000" cy="360000"/>
          </a:xfrm>
          <a:custGeom>
            <a:avLst/>
            <a:gdLst/>
            <a:ahLst/>
            <a:cxnLst/>
            <a:rect l="l" t="t" r="r" b="b"/>
            <a:pathLst>
              <a:path w="360000" h="360000">
                <a:moveTo>
                  <a:pt x="175907" y="85465"/>
                </a:moveTo>
                <a:cubicBezTo>
                  <a:pt x="157763" y="85465"/>
                  <a:pt x="143308" y="90174"/>
                  <a:pt x="132542" y="99594"/>
                </a:cubicBezTo>
                <a:cubicBezTo>
                  <a:pt x="121777" y="109013"/>
                  <a:pt x="115570" y="122709"/>
                  <a:pt x="113920" y="140680"/>
                </a:cubicBezTo>
                <a:lnTo>
                  <a:pt x="138012" y="143154"/>
                </a:lnTo>
                <a:cubicBezTo>
                  <a:pt x="138099" y="131173"/>
                  <a:pt x="141528" y="121797"/>
                  <a:pt x="148300" y="115025"/>
                </a:cubicBezTo>
                <a:cubicBezTo>
                  <a:pt x="155071" y="108254"/>
                  <a:pt x="164100" y="104868"/>
                  <a:pt x="175386" y="104868"/>
                </a:cubicBezTo>
                <a:cubicBezTo>
                  <a:pt x="186065" y="104868"/>
                  <a:pt x="194725" y="108058"/>
                  <a:pt x="201366" y="114439"/>
                </a:cubicBezTo>
                <a:cubicBezTo>
                  <a:pt x="208008" y="120820"/>
                  <a:pt x="211328" y="128656"/>
                  <a:pt x="211328" y="137945"/>
                </a:cubicBezTo>
                <a:cubicBezTo>
                  <a:pt x="211328" y="146800"/>
                  <a:pt x="207682" y="156198"/>
                  <a:pt x="200389" y="166139"/>
                </a:cubicBezTo>
                <a:cubicBezTo>
                  <a:pt x="193097" y="176079"/>
                  <a:pt x="179076" y="189557"/>
                  <a:pt x="158327" y="206573"/>
                </a:cubicBezTo>
                <a:cubicBezTo>
                  <a:pt x="144957" y="217512"/>
                  <a:pt x="134735" y="227149"/>
                  <a:pt x="127659" y="235483"/>
                </a:cubicBezTo>
                <a:cubicBezTo>
                  <a:pt x="120583" y="243818"/>
                  <a:pt x="115440" y="252282"/>
                  <a:pt x="112227" y="260877"/>
                </a:cubicBezTo>
                <a:cubicBezTo>
                  <a:pt x="110231" y="266086"/>
                  <a:pt x="109319" y="271512"/>
                  <a:pt x="109493" y="277155"/>
                </a:cubicBezTo>
                <a:lnTo>
                  <a:pt x="235680" y="277155"/>
                </a:lnTo>
                <a:lnTo>
                  <a:pt x="235680" y="254626"/>
                </a:lnTo>
                <a:lnTo>
                  <a:pt x="142049" y="254626"/>
                </a:lnTo>
                <a:cubicBezTo>
                  <a:pt x="144653" y="250372"/>
                  <a:pt x="147952" y="246140"/>
                  <a:pt x="151946" y="241929"/>
                </a:cubicBezTo>
                <a:cubicBezTo>
                  <a:pt x="155939" y="237719"/>
                  <a:pt x="164968" y="229710"/>
                  <a:pt x="179033" y="217903"/>
                </a:cubicBezTo>
                <a:cubicBezTo>
                  <a:pt x="195875" y="203665"/>
                  <a:pt x="207921" y="192466"/>
                  <a:pt x="215170" y="184305"/>
                </a:cubicBezTo>
                <a:cubicBezTo>
                  <a:pt x="222419" y="176144"/>
                  <a:pt x="227606" y="168374"/>
                  <a:pt x="230732" y="160995"/>
                </a:cubicBezTo>
                <a:cubicBezTo>
                  <a:pt x="233857" y="153615"/>
                  <a:pt x="235420" y="146106"/>
                  <a:pt x="235420" y="138466"/>
                </a:cubicBezTo>
                <a:cubicBezTo>
                  <a:pt x="235420" y="123447"/>
                  <a:pt x="230081" y="110858"/>
                  <a:pt x="219402" y="100701"/>
                </a:cubicBezTo>
                <a:cubicBezTo>
                  <a:pt x="208724" y="90543"/>
                  <a:pt x="194225" y="85465"/>
                  <a:pt x="175907" y="8546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5" name="Textplatzhalter 33">
            <a:extLst>
              <a:ext uri="{FF2B5EF4-FFF2-40B4-BE49-F238E27FC236}">
                <a16:creationId xmlns:a16="http://schemas.microsoft.com/office/drawing/2014/main" id="{984161AE-E8BB-4BD1-AB4F-EB402EB5F635}"/>
              </a:ext>
            </a:extLst>
          </p:cNvPr>
          <p:cNvSpPr>
            <a:spLocks noGrp="1"/>
          </p:cNvSpPr>
          <p:nvPr>
            <p:ph type="body" sz="quarter" idx="21" hasCustomPrompt="1"/>
          </p:nvPr>
        </p:nvSpPr>
        <p:spPr bwMode="gray">
          <a:xfrm>
            <a:off x="8616280" y="3068960"/>
            <a:ext cx="360000" cy="360000"/>
          </a:xfrm>
          <a:custGeom>
            <a:avLst/>
            <a:gdLst/>
            <a:ahLst/>
            <a:cxnLst/>
            <a:rect l="l" t="t" r="r" b="b"/>
            <a:pathLst>
              <a:path w="360000" h="360000">
                <a:moveTo>
                  <a:pt x="172371" y="85485"/>
                </a:moveTo>
                <a:cubicBezTo>
                  <a:pt x="157265" y="85485"/>
                  <a:pt x="144633" y="89804"/>
                  <a:pt x="134476" y="98442"/>
                </a:cubicBezTo>
                <a:cubicBezTo>
                  <a:pt x="124318" y="107080"/>
                  <a:pt x="117807" y="119256"/>
                  <a:pt x="114942" y="134970"/>
                </a:cubicBezTo>
                <a:lnTo>
                  <a:pt x="138382" y="139137"/>
                </a:lnTo>
                <a:cubicBezTo>
                  <a:pt x="140119" y="127677"/>
                  <a:pt x="144025" y="119082"/>
                  <a:pt x="150102" y="113353"/>
                </a:cubicBezTo>
                <a:cubicBezTo>
                  <a:pt x="156180" y="107623"/>
                  <a:pt x="163776" y="104758"/>
                  <a:pt x="172892" y="104758"/>
                </a:cubicBezTo>
                <a:cubicBezTo>
                  <a:pt x="182094" y="104758"/>
                  <a:pt x="189604" y="107579"/>
                  <a:pt x="195421" y="113222"/>
                </a:cubicBezTo>
                <a:cubicBezTo>
                  <a:pt x="201237" y="118865"/>
                  <a:pt x="204146" y="125984"/>
                  <a:pt x="204146" y="134579"/>
                </a:cubicBezTo>
                <a:cubicBezTo>
                  <a:pt x="204146" y="145431"/>
                  <a:pt x="200152" y="153462"/>
                  <a:pt x="192165" y="158671"/>
                </a:cubicBezTo>
                <a:cubicBezTo>
                  <a:pt x="184178" y="163880"/>
                  <a:pt x="175192" y="166484"/>
                  <a:pt x="165209" y="166484"/>
                </a:cubicBezTo>
                <a:cubicBezTo>
                  <a:pt x="164254" y="166484"/>
                  <a:pt x="162995" y="166397"/>
                  <a:pt x="161432" y="166224"/>
                </a:cubicBezTo>
                <a:lnTo>
                  <a:pt x="158828" y="186799"/>
                </a:lnTo>
                <a:cubicBezTo>
                  <a:pt x="165426" y="185063"/>
                  <a:pt x="170938" y="184195"/>
                  <a:pt x="175366" y="184195"/>
                </a:cubicBezTo>
                <a:cubicBezTo>
                  <a:pt x="186218" y="184195"/>
                  <a:pt x="195160" y="187689"/>
                  <a:pt x="202192" y="194678"/>
                </a:cubicBezTo>
                <a:cubicBezTo>
                  <a:pt x="209224" y="201667"/>
                  <a:pt x="212741" y="210544"/>
                  <a:pt x="212741" y="221309"/>
                </a:cubicBezTo>
                <a:cubicBezTo>
                  <a:pt x="212741" y="232595"/>
                  <a:pt x="208942" y="242058"/>
                  <a:pt x="201346" y="249698"/>
                </a:cubicBezTo>
                <a:cubicBezTo>
                  <a:pt x="193749" y="257338"/>
                  <a:pt x="184438" y="261158"/>
                  <a:pt x="173413" y="261158"/>
                </a:cubicBezTo>
                <a:cubicBezTo>
                  <a:pt x="164123" y="261158"/>
                  <a:pt x="156245" y="258227"/>
                  <a:pt x="149777" y="252367"/>
                </a:cubicBezTo>
                <a:cubicBezTo>
                  <a:pt x="143309" y="246507"/>
                  <a:pt x="138730" y="236936"/>
                  <a:pt x="136038" y="223653"/>
                </a:cubicBezTo>
                <a:lnTo>
                  <a:pt x="112598" y="226778"/>
                </a:lnTo>
                <a:cubicBezTo>
                  <a:pt x="114161" y="242666"/>
                  <a:pt x="120476" y="255601"/>
                  <a:pt x="131546" y="265585"/>
                </a:cubicBezTo>
                <a:cubicBezTo>
                  <a:pt x="142615" y="275569"/>
                  <a:pt x="156527" y="280561"/>
                  <a:pt x="173282" y="280561"/>
                </a:cubicBezTo>
                <a:cubicBezTo>
                  <a:pt x="191861" y="280561"/>
                  <a:pt x="207228" y="274766"/>
                  <a:pt x="219382" y="263176"/>
                </a:cubicBezTo>
                <a:cubicBezTo>
                  <a:pt x="231536" y="251586"/>
                  <a:pt x="237613" y="237457"/>
                  <a:pt x="237613" y="220788"/>
                </a:cubicBezTo>
                <a:cubicBezTo>
                  <a:pt x="237613" y="208460"/>
                  <a:pt x="234488" y="198194"/>
                  <a:pt x="228237" y="189990"/>
                </a:cubicBezTo>
                <a:cubicBezTo>
                  <a:pt x="221986" y="181786"/>
                  <a:pt x="213218" y="176381"/>
                  <a:pt x="201932" y="173777"/>
                </a:cubicBezTo>
                <a:cubicBezTo>
                  <a:pt x="210614" y="169783"/>
                  <a:pt x="217168" y="164401"/>
                  <a:pt x="221596" y="157629"/>
                </a:cubicBezTo>
                <a:cubicBezTo>
                  <a:pt x="226023" y="150857"/>
                  <a:pt x="228237" y="143348"/>
                  <a:pt x="228237" y="135100"/>
                </a:cubicBezTo>
                <a:cubicBezTo>
                  <a:pt x="228237" y="126418"/>
                  <a:pt x="225915" y="118214"/>
                  <a:pt x="221270" y="110488"/>
                </a:cubicBezTo>
                <a:cubicBezTo>
                  <a:pt x="216626" y="102761"/>
                  <a:pt x="209919" y="96662"/>
                  <a:pt x="201151" y="92191"/>
                </a:cubicBezTo>
                <a:cubicBezTo>
                  <a:pt x="192382" y="87720"/>
                  <a:pt x="182789" y="85485"/>
                  <a:pt x="172371" y="8548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Tree>
    <p:extLst>
      <p:ext uri="{BB962C8B-B14F-4D97-AF65-F5344CB8AC3E}">
        <p14:creationId xmlns:p14="http://schemas.microsoft.com/office/powerpoint/2010/main" val="4262490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short">
    <p:bg>
      <p:bgPr>
        <a:solidFill>
          <a:schemeClr val="bg1"/>
        </a:solidFill>
        <a:effectLst/>
      </p:bgPr>
    </p:bg>
    <p:spTree>
      <p:nvGrpSpPr>
        <p:cNvPr id="1" name=""/>
        <p:cNvGrpSpPr/>
        <p:nvPr/>
      </p:nvGrpSpPr>
      <p:grpSpPr>
        <a:xfrm>
          <a:off x="0" y="0"/>
          <a:ext cx="0" cy="0"/>
          <a:chOff x="0" y="0"/>
          <a:chExt cx="0" cy="0"/>
        </a:xfrm>
      </p:grpSpPr>
      <p:sp>
        <p:nvSpPr>
          <p:cNvPr id="26" name="Bildplatzhalter 26">
            <a:extLst>
              <a:ext uri="{FF2B5EF4-FFF2-40B4-BE49-F238E27FC236}">
                <a16:creationId xmlns:a16="http://schemas.microsoft.com/office/drawing/2014/main" id="{EFAAF43C-9B59-4AC7-850C-694F03DE0574}"/>
              </a:ext>
            </a:extLst>
          </p:cNvPr>
          <p:cNvSpPr>
            <a:spLocks noGrp="1"/>
          </p:cNvSpPr>
          <p:nvPr>
            <p:ph type="pic" sz="quarter" idx="10" hasCustomPrompt="1"/>
          </p:nvPr>
        </p:nvSpPr>
        <p:spPr bwMode="gray">
          <a:xfrm>
            <a:off x="479375" y="0"/>
            <a:ext cx="3240000" cy="6858000"/>
          </a:xfrm>
          <a:solidFill>
            <a:schemeClr val="accent3"/>
          </a:solidFill>
        </p:spPr>
        <p:txBody>
          <a:bodyPr tIns="3672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Optional: To add a picture click the icon</a:t>
            </a:r>
          </a:p>
        </p:txBody>
      </p:sp>
      <p:sp>
        <p:nvSpPr>
          <p:cNvPr id="33" name="Textplatzhalter 32">
            <a:extLst>
              <a:ext uri="{FF2B5EF4-FFF2-40B4-BE49-F238E27FC236}">
                <a16:creationId xmlns:a16="http://schemas.microsoft.com/office/drawing/2014/main" id="{C3B87A74-3F1C-4021-8369-282FE226B3BB}"/>
              </a:ext>
            </a:extLst>
          </p:cNvPr>
          <p:cNvSpPr>
            <a:spLocks noGrp="1"/>
          </p:cNvSpPr>
          <p:nvPr>
            <p:ph type="body" sz="quarter" idx="25" hasCustomPrompt="1"/>
          </p:nvPr>
        </p:nvSpPr>
        <p:spPr bwMode="gray">
          <a:xfrm>
            <a:off x="479376" y="0"/>
            <a:ext cx="719210" cy="6856269"/>
          </a:xfrm>
          <a:custGeom>
            <a:avLst/>
            <a:gdLst>
              <a:gd name="connsiteX0" fmla="*/ 0 w 719210"/>
              <a:gd name="connsiteY0" fmla="*/ 0 h 6856269"/>
              <a:gd name="connsiteX1" fmla="*/ 719210 w 719210"/>
              <a:gd name="connsiteY1" fmla="*/ 0 h 6856269"/>
              <a:gd name="connsiteX2" fmla="*/ 719210 w 719210"/>
              <a:gd name="connsiteY2" fmla="*/ 6 h 6856269"/>
              <a:gd name="connsiteX3" fmla="*/ 0 w 719210"/>
              <a:gd name="connsiteY3" fmla="*/ 6856269 h 6856269"/>
            </a:gdLst>
            <a:ahLst/>
            <a:cxnLst>
              <a:cxn ang="0">
                <a:pos x="connsiteX0" y="connsiteY0"/>
              </a:cxn>
              <a:cxn ang="0">
                <a:pos x="connsiteX1" y="connsiteY1"/>
              </a:cxn>
              <a:cxn ang="0">
                <a:pos x="connsiteX2" y="connsiteY2"/>
              </a:cxn>
              <a:cxn ang="0">
                <a:pos x="connsiteX3" y="connsiteY3"/>
              </a:cxn>
            </a:cxnLst>
            <a:rect l="l" t="t" r="r" b="b"/>
            <a:pathLst>
              <a:path w="719210" h="6856269">
                <a:moveTo>
                  <a:pt x="0" y="0"/>
                </a:moveTo>
                <a:lnTo>
                  <a:pt x="719210" y="0"/>
                </a:lnTo>
                <a:lnTo>
                  <a:pt x="719210" y="6"/>
                </a:lnTo>
                <a:lnTo>
                  <a:pt x="0" y="6856269"/>
                </a:lnTo>
                <a:close/>
              </a:path>
            </a:pathLst>
          </a:custGeom>
          <a:solidFill>
            <a:schemeClr val="accent1">
              <a:alpha val="32000"/>
            </a:schemeClr>
          </a:solidFill>
        </p:spPr>
        <p:txBody>
          <a:bodyPr wrap="square">
            <a:noAutofit/>
          </a:bodyPr>
          <a:lstStyle>
            <a:lvl1pPr>
              <a:lnSpc>
                <a:spcPct val="100000"/>
              </a:lnSpc>
              <a:defRPr/>
            </a:lvl1pPr>
          </a:lstStyle>
          <a:p>
            <a:pPr lvl="0"/>
            <a:r>
              <a:rPr lang="en-US" noProof="0"/>
              <a:t> </a:t>
            </a:r>
          </a:p>
        </p:txBody>
      </p:sp>
      <p:sp>
        <p:nvSpPr>
          <p:cNvPr id="32" name="Textplatzhalter 31">
            <a:extLst>
              <a:ext uri="{FF2B5EF4-FFF2-40B4-BE49-F238E27FC236}">
                <a16:creationId xmlns:a16="http://schemas.microsoft.com/office/drawing/2014/main" id="{F5B457A7-6900-4A35-91F4-72996550BF56}"/>
              </a:ext>
            </a:extLst>
          </p:cNvPr>
          <p:cNvSpPr>
            <a:spLocks noGrp="1"/>
          </p:cNvSpPr>
          <p:nvPr>
            <p:ph type="body" sz="quarter" idx="26" hasCustomPrompt="1"/>
          </p:nvPr>
        </p:nvSpPr>
        <p:spPr bwMode="gray">
          <a:xfrm>
            <a:off x="479376" y="-1"/>
            <a:ext cx="719840" cy="6857999"/>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0"/>
                </a:moveTo>
                <a:lnTo>
                  <a:pt x="719840" y="0"/>
                </a:lnTo>
                <a:lnTo>
                  <a:pt x="719840" y="6885383"/>
                </a:lnTo>
                <a:lnTo>
                  <a:pt x="0" y="6885383"/>
                </a:lnTo>
                <a:close/>
              </a:path>
            </a:pathLst>
          </a:custGeom>
          <a:solidFill>
            <a:schemeClr val="accent1">
              <a:alpha val="20000"/>
            </a:schemeClr>
          </a:solidFill>
        </p:spPr>
        <p:txBody>
          <a:bodyPr wrap="square">
            <a:noAutofit/>
          </a:bodyPr>
          <a:lstStyle>
            <a:lvl1pPr>
              <a:lnSpc>
                <a:spcPct val="100000"/>
              </a:lnSpc>
              <a:defRPr/>
            </a:lvl1pPr>
          </a:lstStyle>
          <a:p>
            <a:pPr lvl="0"/>
            <a:r>
              <a:rPr lang="en-US" noProof="0"/>
              <a:t>  </a:t>
            </a:r>
          </a:p>
        </p:txBody>
      </p:sp>
      <p:sp>
        <p:nvSpPr>
          <p:cNvPr id="7" name="Rechteck 6">
            <a:extLst>
              <a:ext uri="{FF2B5EF4-FFF2-40B4-BE49-F238E27FC236}">
                <a16:creationId xmlns:a16="http://schemas.microsoft.com/office/drawing/2014/main" id="{0ED86B9B-4F63-484F-B206-DC00AD0475B9}"/>
              </a:ext>
            </a:extLst>
          </p:cNvPr>
          <p:cNvSpPr/>
          <p:nvPr userDrawn="1"/>
        </p:nvSpPr>
        <p:spPr bwMode="gray">
          <a:xfrm>
            <a:off x="0" y="0"/>
            <a:ext cx="47937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noProof="0"/>
          </a:p>
        </p:txBody>
      </p:sp>
      <p:sp>
        <p:nvSpPr>
          <p:cNvPr id="2" name="Titel 1">
            <a:extLst>
              <a:ext uri="{FF2B5EF4-FFF2-40B4-BE49-F238E27FC236}">
                <a16:creationId xmlns:a16="http://schemas.microsoft.com/office/drawing/2014/main" id="{DC97BE3F-D3B2-4307-AAF0-D21AE4DACE28}"/>
              </a:ext>
            </a:extLst>
          </p:cNvPr>
          <p:cNvSpPr>
            <a:spLocks noGrp="1"/>
          </p:cNvSpPr>
          <p:nvPr>
            <p:ph type="title" hasCustomPrompt="1"/>
          </p:nvPr>
        </p:nvSpPr>
        <p:spPr bwMode="gray">
          <a:xfrm>
            <a:off x="4943872" y="2765067"/>
            <a:ext cx="5616000" cy="1944000"/>
          </a:xfrm>
        </p:spPr>
        <p:txBody>
          <a:bodyPr anchor="t"/>
          <a:lstStyle>
            <a:lvl1pPr>
              <a:lnSpc>
                <a:spcPct val="100000"/>
              </a:lnSpc>
              <a:defRPr sz="3600" b="0">
                <a:solidFill>
                  <a:schemeClr val="tx1"/>
                </a:solidFill>
              </a:defRPr>
            </a:lvl1pPr>
          </a:lstStyle>
          <a:p>
            <a:r>
              <a:rPr lang="en-US" noProof="0"/>
              <a:t>Click to add the first Agenda point </a:t>
            </a:r>
          </a:p>
        </p:txBody>
      </p:sp>
      <p:sp>
        <p:nvSpPr>
          <p:cNvPr id="34" name="Textplatzhalter 20">
            <a:extLst>
              <a:ext uri="{FF2B5EF4-FFF2-40B4-BE49-F238E27FC236}">
                <a16:creationId xmlns:a16="http://schemas.microsoft.com/office/drawing/2014/main" id="{2EB1904C-21B7-4221-8D93-447D07B926E9}"/>
              </a:ext>
            </a:extLst>
          </p:cNvPr>
          <p:cNvSpPr>
            <a:spLocks noGrp="1"/>
          </p:cNvSpPr>
          <p:nvPr>
            <p:ph type="body" sz="quarter" idx="20" hasCustomPrompt="1"/>
          </p:nvPr>
        </p:nvSpPr>
        <p:spPr bwMode="gray">
          <a:xfrm>
            <a:off x="4943872" y="2204864"/>
            <a:ext cx="360000" cy="360000"/>
          </a:xfrm>
          <a:prstGeom prst="ellipse">
            <a:avLst/>
          </a:prstGeom>
          <a:solidFill>
            <a:schemeClr val="accent1"/>
          </a:solidFill>
        </p:spPr>
        <p:txBody>
          <a:bodyPr anchor="ctr"/>
          <a:lstStyle>
            <a:lvl1pPr marL="0" indent="0" algn="ctr">
              <a:lnSpc>
                <a:spcPct val="100000"/>
              </a:lnSpc>
              <a:buFont typeface="Arial" panose="020B0604020202020204" pitchFamily="34" charset="0"/>
              <a:buNone/>
              <a:defRPr sz="2100" b="0">
                <a:solidFill>
                  <a:schemeClr val="bg1"/>
                </a:solidFill>
              </a:defRPr>
            </a:lvl1pPr>
            <a:lvl2pPr marL="0" indent="0" algn="ctr">
              <a:buFont typeface="Arial" panose="020B0604020202020204" pitchFamily="34" charset="0"/>
              <a:buNone/>
              <a:defRPr sz="2100" b="0">
                <a:solidFill>
                  <a:schemeClr val="bg1"/>
                </a:solidFill>
              </a:defRPr>
            </a:lvl2pPr>
            <a:lvl3pPr marL="0" indent="0" algn="ctr">
              <a:buNone/>
              <a:defRPr sz="2100" b="0">
                <a:solidFill>
                  <a:schemeClr val="bg1"/>
                </a:solidFill>
              </a:defRPr>
            </a:lvl3pPr>
            <a:lvl4pPr marL="0" indent="0" algn="ctr">
              <a:buNone/>
              <a:defRPr sz="2100" b="0">
                <a:solidFill>
                  <a:schemeClr val="bg1"/>
                </a:solidFill>
              </a:defRPr>
            </a:lvl4pPr>
            <a:lvl5pPr marL="0" indent="0" algn="ctr">
              <a:buNone/>
              <a:defRPr sz="2100" b="0">
                <a:solidFill>
                  <a:schemeClr val="bg1"/>
                </a:solidFill>
              </a:defRPr>
            </a:lvl5pPr>
            <a:lvl6pPr marL="0" indent="0" algn="ctr">
              <a:buNone/>
              <a:defRPr sz="2100" b="0">
                <a:solidFill>
                  <a:schemeClr val="bg1"/>
                </a:solidFill>
              </a:defRPr>
            </a:lvl6pPr>
            <a:lvl7pPr marL="0" indent="0" algn="ctr">
              <a:buNone/>
              <a:defRPr sz="2100" b="0">
                <a:solidFill>
                  <a:schemeClr val="bg1"/>
                </a:solidFill>
              </a:defRPr>
            </a:lvl7pPr>
            <a:lvl8pPr marL="0" indent="0" algn="ctr">
              <a:buNone/>
              <a:defRPr sz="2100" b="0">
                <a:solidFill>
                  <a:schemeClr val="bg1"/>
                </a:solidFill>
              </a:defRPr>
            </a:lvl8pPr>
            <a:lvl9pPr marL="0" indent="0" algn="ctr">
              <a:buNone/>
              <a:defRPr sz="2100" b="0">
                <a:solidFill>
                  <a:schemeClr val="bg1"/>
                </a:solidFill>
              </a:defRPr>
            </a:lvl9pPr>
          </a:lstStyle>
          <a:p>
            <a:pPr lvl="0"/>
            <a:r>
              <a:rPr lang="en-US" noProof="0"/>
              <a:t>0</a:t>
            </a:r>
          </a:p>
        </p:txBody>
      </p:sp>
      <p:sp>
        <p:nvSpPr>
          <p:cNvPr id="3" name="Rechteck 2">
            <a:extLst>
              <a:ext uri="{FF2B5EF4-FFF2-40B4-BE49-F238E27FC236}">
                <a16:creationId xmlns:a16="http://schemas.microsoft.com/office/drawing/2014/main" id="{47BEF9AE-3B67-4A33-8B31-B99FD5127C16}"/>
              </a:ext>
            </a:extLst>
          </p:cNvPr>
          <p:cNvSpPr/>
          <p:nvPr userDrawn="1"/>
        </p:nvSpPr>
        <p:spPr bwMode="gray">
          <a:xfrm>
            <a:off x="12316071" y="-1"/>
            <a:ext cx="1268761" cy="1124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00" b="1">
                <a:solidFill>
                  <a:schemeClr val="tx1"/>
                </a:solidFill>
              </a:rPr>
              <a:t>Remark:</a:t>
            </a:r>
          </a:p>
          <a:p>
            <a:pPr algn="l"/>
            <a:r>
              <a:rPr lang="en-US" sz="1000">
                <a:solidFill>
                  <a:schemeClr val="tx1"/>
                </a:solidFill>
              </a:rPr>
              <a:t>Please add the chapter number into the green cycle.</a:t>
            </a:r>
          </a:p>
        </p:txBody>
      </p:sp>
      <p:sp>
        <p:nvSpPr>
          <p:cNvPr id="17" name="Textplatzhalter 9">
            <a:extLst>
              <a:ext uri="{FF2B5EF4-FFF2-40B4-BE49-F238E27FC236}">
                <a16:creationId xmlns:a16="http://schemas.microsoft.com/office/drawing/2014/main" id="{34FAFE32-E57F-456E-BA83-5BA7BDD5B7F6}"/>
              </a:ext>
            </a:extLst>
          </p:cNvPr>
          <p:cNvSpPr>
            <a:spLocks noGrp="1"/>
          </p:cNvSpPr>
          <p:nvPr>
            <p:ph type="body" sz="quarter" idx="35" hasCustomPrompt="1"/>
          </p:nvPr>
        </p:nvSpPr>
        <p:spPr bwMode="gray">
          <a:xfrm>
            <a:off x="407368" y="404664"/>
            <a:ext cx="215900" cy="216000"/>
          </a:xfrm>
          <a:blipFill>
            <a:blip r:embed="rId2"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Tree>
    <p:extLst>
      <p:ext uri="{BB962C8B-B14F-4D97-AF65-F5344CB8AC3E}">
        <p14:creationId xmlns:p14="http://schemas.microsoft.com/office/powerpoint/2010/main" val="2494673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hort title + 1/2 picture full heiht">
    <p:bg>
      <p:bgPr>
        <a:solidFill>
          <a:schemeClr val="accent2"/>
        </a:solidFill>
        <a:effectLst/>
      </p:bgPr>
    </p:bg>
    <p:spTree>
      <p:nvGrpSpPr>
        <p:cNvPr id="1" name=""/>
        <p:cNvGrpSpPr/>
        <p:nvPr/>
      </p:nvGrpSpPr>
      <p:grpSpPr>
        <a:xfrm>
          <a:off x="0" y="0"/>
          <a:ext cx="0" cy="0"/>
          <a:chOff x="0" y="0"/>
          <a:chExt cx="0" cy="0"/>
        </a:xfrm>
      </p:grpSpPr>
      <p:sp>
        <p:nvSpPr>
          <p:cNvPr id="27" name="Bildplatzhalter 26">
            <a:extLst>
              <a:ext uri="{FF2B5EF4-FFF2-40B4-BE49-F238E27FC236}">
                <a16:creationId xmlns:a16="http://schemas.microsoft.com/office/drawing/2014/main" id="{1E773914-63E0-4980-BEEC-5E303EB378EC}"/>
              </a:ext>
            </a:extLst>
          </p:cNvPr>
          <p:cNvSpPr>
            <a:spLocks noGrp="1"/>
          </p:cNvSpPr>
          <p:nvPr userDrawn="1">
            <p:ph type="pic" sz="quarter" idx="10" hasCustomPrompt="1"/>
          </p:nvPr>
        </p:nvSpPr>
        <p:spPr bwMode="gray">
          <a:xfrm>
            <a:off x="5663952" y="0"/>
            <a:ext cx="6528048" cy="6872400"/>
          </a:xfrm>
          <a:solidFill>
            <a:schemeClr val="accent2"/>
          </a:solidFill>
        </p:spPr>
        <p:txBody>
          <a:bodyPr tIns="3096000"/>
          <a:lstStyle>
            <a:lvl1pPr marL="0" indent="0" algn="ctr">
              <a:lnSpc>
                <a:spcPct val="100000"/>
              </a:lnSpc>
              <a:spcBef>
                <a:spcPts val="0"/>
              </a:spcBef>
              <a:spcAft>
                <a:spcPts val="0"/>
              </a:spcAft>
              <a:buFont typeface="Arial" panose="020B0604020202020204" pitchFamily="34" charset="0"/>
              <a:buNone/>
              <a:defRPr sz="800" b="0">
                <a:solidFill>
                  <a:schemeClr val="bg1"/>
                </a:solidFill>
              </a:defRPr>
            </a:lvl1pPr>
            <a:lvl2pPr marL="0" indent="0" algn="ctr">
              <a:lnSpc>
                <a:spcPct val="100000"/>
              </a:lnSpc>
              <a:spcBef>
                <a:spcPts val="0"/>
              </a:spcBef>
              <a:spcAft>
                <a:spcPts val="0"/>
              </a:spcAft>
              <a:buFont typeface="Arial" panose="020B0604020202020204" pitchFamily="34" charset="0"/>
              <a:buNone/>
              <a:defRPr sz="800" b="0">
                <a:solidFill>
                  <a:schemeClr val="bg1"/>
                </a:solidFill>
              </a:defRPr>
            </a:lvl2pPr>
            <a:lvl3pPr marL="0" indent="0" algn="ctr">
              <a:lnSpc>
                <a:spcPct val="100000"/>
              </a:lnSpc>
              <a:spcBef>
                <a:spcPts val="0"/>
              </a:spcBef>
              <a:spcAft>
                <a:spcPts val="0"/>
              </a:spcAft>
              <a:buNone/>
              <a:defRPr sz="800" b="0">
                <a:solidFill>
                  <a:schemeClr val="bg1"/>
                </a:solidFill>
              </a:defRPr>
            </a:lvl3pPr>
            <a:lvl4pPr marL="0" indent="0" algn="ctr">
              <a:lnSpc>
                <a:spcPct val="100000"/>
              </a:lnSpc>
              <a:spcBef>
                <a:spcPts val="0"/>
              </a:spcBef>
              <a:spcAft>
                <a:spcPts val="0"/>
              </a:spcAft>
              <a:buNone/>
              <a:defRPr sz="800" b="0">
                <a:solidFill>
                  <a:schemeClr val="bg1"/>
                </a:solidFill>
              </a:defRPr>
            </a:lvl4pPr>
            <a:lvl5pPr marL="0" indent="0" algn="ctr">
              <a:lnSpc>
                <a:spcPct val="100000"/>
              </a:lnSpc>
              <a:spcBef>
                <a:spcPts val="0"/>
              </a:spcBef>
              <a:spcAft>
                <a:spcPts val="0"/>
              </a:spcAft>
              <a:buNone/>
              <a:defRPr sz="800" b="0">
                <a:solidFill>
                  <a:schemeClr val="bg1"/>
                </a:solidFill>
              </a:defRPr>
            </a:lvl5pPr>
            <a:lvl6pPr marL="0" indent="0" algn="ctr">
              <a:lnSpc>
                <a:spcPct val="100000"/>
              </a:lnSpc>
              <a:spcBef>
                <a:spcPts val="0"/>
              </a:spcBef>
              <a:spcAft>
                <a:spcPts val="0"/>
              </a:spcAft>
              <a:buNone/>
              <a:defRPr sz="800" b="0">
                <a:solidFill>
                  <a:schemeClr val="bg1"/>
                </a:solidFill>
              </a:defRPr>
            </a:lvl6pPr>
            <a:lvl7pPr marL="0" indent="0" algn="ctr">
              <a:lnSpc>
                <a:spcPct val="100000"/>
              </a:lnSpc>
              <a:spcBef>
                <a:spcPts val="0"/>
              </a:spcBef>
              <a:spcAft>
                <a:spcPts val="0"/>
              </a:spcAft>
              <a:buNone/>
              <a:defRPr sz="800" b="0">
                <a:solidFill>
                  <a:schemeClr val="bg1"/>
                </a:solidFill>
              </a:defRPr>
            </a:lvl7pPr>
            <a:lvl8pPr marL="0" indent="0" algn="ctr">
              <a:lnSpc>
                <a:spcPct val="100000"/>
              </a:lnSpc>
              <a:spcBef>
                <a:spcPts val="0"/>
              </a:spcBef>
              <a:spcAft>
                <a:spcPts val="0"/>
              </a:spcAft>
              <a:buNone/>
              <a:defRPr sz="800" b="0">
                <a:solidFill>
                  <a:schemeClr val="bg1"/>
                </a:solidFill>
              </a:defRPr>
            </a:lvl8pPr>
            <a:lvl9pPr marL="0" indent="0" algn="ctr">
              <a:lnSpc>
                <a:spcPct val="100000"/>
              </a:lnSpc>
              <a:spcBef>
                <a:spcPts val="0"/>
              </a:spcBef>
              <a:spcAft>
                <a:spcPts val="0"/>
              </a:spcAft>
              <a:buNone/>
              <a:defRPr sz="800" b="0">
                <a:solidFill>
                  <a:schemeClr val="bg1"/>
                </a:solidFill>
              </a:defRPr>
            </a:lvl9pPr>
          </a:lstStyle>
          <a:p>
            <a:pPr lvl="0"/>
            <a:r>
              <a:rPr lang="en-US" noProof="0"/>
              <a:t>Optional: To add a picture click the icon</a:t>
            </a:r>
          </a:p>
        </p:txBody>
      </p:sp>
      <p:sp>
        <p:nvSpPr>
          <p:cNvPr id="5" name="Textplatzhalter 4">
            <a:extLst>
              <a:ext uri="{FF2B5EF4-FFF2-40B4-BE49-F238E27FC236}">
                <a16:creationId xmlns:a16="http://schemas.microsoft.com/office/drawing/2014/main" id="{06E4449C-D3A8-4D74-B90C-016DF05490E6}"/>
              </a:ext>
            </a:extLst>
          </p:cNvPr>
          <p:cNvSpPr>
            <a:spLocks noGrp="1"/>
          </p:cNvSpPr>
          <p:nvPr>
            <p:ph type="body" sz="quarter" idx="17" hasCustomPrompt="1"/>
          </p:nvPr>
        </p:nvSpPr>
        <p:spPr bwMode="gray">
          <a:xfrm>
            <a:off x="0" y="0"/>
            <a:ext cx="8688388" cy="6872400"/>
          </a:xfrm>
          <a:solidFill>
            <a:schemeClr val="accent1">
              <a:alpha val="14000"/>
            </a:schemeClr>
          </a:solidFill>
        </p:spPr>
        <p:txBody>
          <a:bodyPr/>
          <a:lstStyle>
            <a:lvl1pPr>
              <a:lnSpc>
                <a:spcPct val="100000"/>
              </a:lnSpc>
              <a:defRPr/>
            </a:lvl1pPr>
          </a:lstStyle>
          <a:p>
            <a:pPr lvl="0"/>
            <a:r>
              <a:rPr lang="en-US"/>
              <a:t> </a:t>
            </a:r>
          </a:p>
        </p:txBody>
      </p:sp>
      <p:sp>
        <p:nvSpPr>
          <p:cNvPr id="39" name="Textplatzhalter 38">
            <a:extLst>
              <a:ext uri="{FF2B5EF4-FFF2-40B4-BE49-F238E27FC236}">
                <a16:creationId xmlns:a16="http://schemas.microsoft.com/office/drawing/2014/main" id="{984B9416-ED4A-49E0-B515-7988EBC556C6}"/>
              </a:ext>
            </a:extLst>
          </p:cNvPr>
          <p:cNvSpPr>
            <a:spLocks noGrp="1"/>
          </p:cNvSpPr>
          <p:nvPr>
            <p:ph type="body" sz="quarter" idx="18" hasCustomPrompt="1"/>
          </p:nvPr>
        </p:nvSpPr>
        <p:spPr bwMode="gray">
          <a:xfrm>
            <a:off x="-100" y="0"/>
            <a:ext cx="8688388" cy="6872400"/>
          </a:xfrm>
          <a:custGeom>
            <a:avLst/>
            <a:gdLst>
              <a:gd name="connsiteX0" fmla="*/ 0 w 8688388"/>
              <a:gd name="connsiteY0" fmla="*/ 0 h 6843712"/>
              <a:gd name="connsiteX1" fmla="*/ 8688388 w 8688388"/>
              <a:gd name="connsiteY1" fmla="*/ 0 h 6843712"/>
              <a:gd name="connsiteX2" fmla="*/ 8688388 w 8688388"/>
              <a:gd name="connsiteY2" fmla="*/ 6502988 h 6843712"/>
              <a:gd name="connsiteX3" fmla="*/ 8489074 w 8688388"/>
              <a:gd name="connsiteY3" fmla="*/ 6843712 h 6843712"/>
              <a:gd name="connsiteX4" fmla="*/ 0 w 8688388"/>
              <a:gd name="connsiteY4" fmla="*/ 6843712 h 6843712"/>
              <a:gd name="connsiteX0" fmla="*/ 0 w 8688388"/>
              <a:gd name="connsiteY0" fmla="*/ 0 h 6843712"/>
              <a:gd name="connsiteX1" fmla="*/ 8688388 w 8688388"/>
              <a:gd name="connsiteY1" fmla="*/ 0 h 6843712"/>
              <a:gd name="connsiteX2" fmla="*/ 8489074 w 8688388"/>
              <a:gd name="connsiteY2" fmla="*/ 6843712 h 6843712"/>
              <a:gd name="connsiteX3" fmla="*/ 0 w 8688388"/>
              <a:gd name="connsiteY3" fmla="*/ 6843712 h 6843712"/>
              <a:gd name="connsiteX4" fmla="*/ 0 w 8688388"/>
              <a:gd name="connsiteY4" fmla="*/ 0 h 6843712"/>
              <a:gd name="connsiteX0" fmla="*/ 0 w 8688388"/>
              <a:gd name="connsiteY0" fmla="*/ 0 h 6843712"/>
              <a:gd name="connsiteX1" fmla="*/ 8688388 w 8688388"/>
              <a:gd name="connsiteY1" fmla="*/ 0 h 6843712"/>
              <a:gd name="connsiteX2" fmla="*/ 8261968 w 8688388"/>
              <a:gd name="connsiteY2" fmla="*/ 6843712 h 6843712"/>
              <a:gd name="connsiteX3" fmla="*/ 0 w 8688388"/>
              <a:gd name="connsiteY3" fmla="*/ 6843712 h 6843712"/>
              <a:gd name="connsiteX4" fmla="*/ 0 w 8688388"/>
              <a:gd name="connsiteY4" fmla="*/ 0 h 6843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8388" h="6843712">
                <a:moveTo>
                  <a:pt x="0" y="0"/>
                </a:moveTo>
                <a:lnTo>
                  <a:pt x="8688388" y="0"/>
                </a:lnTo>
                <a:lnTo>
                  <a:pt x="8261968" y="6843712"/>
                </a:lnTo>
                <a:lnTo>
                  <a:pt x="0" y="6843712"/>
                </a:lnTo>
                <a:lnTo>
                  <a:pt x="0" y="0"/>
                </a:lnTo>
                <a:close/>
              </a:path>
            </a:pathLst>
          </a:custGeom>
          <a:solidFill>
            <a:schemeClr val="accent1">
              <a:alpha val="29000"/>
            </a:schemeClr>
          </a:solidFill>
        </p:spPr>
        <p:txBody>
          <a:bodyPr wrap="square">
            <a:noAutofit/>
          </a:bodyPr>
          <a:lstStyle>
            <a:lvl1pPr>
              <a:lnSpc>
                <a:spcPct val="100000"/>
              </a:lnSpc>
              <a:defRPr/>
            </a:lvl1pPr>
          </a:lstStyle>
          <a:p>
            <a:pPr lvl="0"/>
            <a:r>
              <a:rPr lang="en-US"/>
              <a:t> </a:t>
            </a:r>
          </a:p>
        </p:txBody>
      </p:sp>
      <p:sp>
        <p:nvSpPr>
          <p:cNvPr id="40" name="Textplatzhalter 4">
            <a:extLst>
              <a:ext uri="{FF2B5EF4-FFF2-40B4-BE49-F238E27FC236}">
                <a16:creationId xmlns:a16="http://schemas.microsoft.com/office/drawing/2014/main" id="{32C64BE6-AD8A-4E51-A914-4B0A09D7B679}"/>
              </a:ext>
            </a:extLst>
          </p:cNvPr>
          <p:cNvSpPr>
            <a:spLocks noGrp="1"/>
          </p:cNvSpPr>
          <p:nvPr>
            <p:ph type="body" sz="quarter" idx="19" hasCustomPrompt="1"/>
          </p:nvPr>
        </p:nvSpPr>
        <p:spPr bwMode="gray">
          <a:xfrm>
            <a:off x="-200" y="0"/>
            <a:ext cx="8256788" cy="6872400"/>
          </a:xfrm>
          <a:solidFill>
            <a:schemeClr val="accent1">
              <a:alpha val="43000"/>
            </a:schemeClr>
          </a:solidFill>
        </p:spPr>
        <p:txBody>
          <a:bodyPr/>
          <a:lstStyle>
            <a:lvl1pPr>
              <a:lnSpc>
                <a:spcPct val="100000"/>
              </a:lnSpc>
              <a:defRPr/>
            </a:lvl1pPr>
          </a:lstStyle>
          <a:p>
            <a:pPr lvl="0"/>
            <a:r>
              <a:rPr lang="en-US"/>
              <a:t> </a:t>
            </a:r>
          </a:p>
        </p:txBody>
      </p:sp>
      <p:sp>
        <p:nvSpPr>
          <p:cNvPr id="41" name="Textplatzhalter 40">
            <a:extLst>
              <a:ext uri="{FF2B5EF4-FFF2-40B4-BE49-F238E27FC236}">
                <a16:creationId xmlns:a16="http://schemas.microsoft.com/office/drawing/2014/main" id="{9AB9EBBA-E090-4E3B-903E-EE1A4618B9AE}"/>
              </a:ext>
            </a:extLst>
          </p:cNvPr>
          <p:cNvSpPr>
            <a:spLocks noGrp="1"/>
          </p:cNvSpPr>
          <p:nvPr>
            <p:ph type="body" sz="quarter" idx="20" hasCustomPrompt="1"/>
          </p:nvPr>
        </p:nvSpPr>
        <p:spPr bwMode="gray">
          <a:xfrm>
            <a:off x="0" y="-6350"/>
            <a:ext cx="8262938" cy="6878750"/>
          </a:xfrm>
          <a:custGeom>
            <a:avLst/>
            <a:gdLst>
              <a:gd name="connsiteX0" fmla="*/ 0 w 8688388"/>
              <a:gd name="connsiteY0" fmla="*/ 0 h 6843712"/>
              <a:gd name="connsiteX1" fmla="*/ 8688388 w 8688388"/>
              <a:gd name="connsiteY1" fmla="*/ 0 h 6843712"/>
              <a:gd name="connsiteX2" fmla="*/ 8688388 w 8688388"/>
              <a:gd name="connsiteY2" fmla="*/ 6502988 h 6843712"/>
              <a:gd name="connsiteX3" fmla="*/ 8489074 w 8688388"/>
              <a:gd name="connsiteY3" fmla="*/ 6843712 h 6843712"/>
              <a:gd name="connsiteX4" fmla="*/ 0 w 8688388"/>
              <a:gd name="connsiteY4" fmla="*/ 6843712 h 6843712"/>
              <a:gd name="connsiteX0" fmla="*/ 0 w 8688388"/>
              <a:gd name="connsiteY0" fmla="*/ 0 h 6843712"/>
              <a:gd name="connsiteX1" fmla="*/ 8688388 w 8688388"/>
              <a:gd name="connsiteY1" fmla="*/ 0 h 6843712"/>
              <a:gd name="connsiteX2" fmla="*/ 8489074 w 8688388"/>
              <a:gd name="connsiteY2" fmla="*/ 6843712 h 6843712"/>
              <a:gd name="connsiteX3" fmla="*/ 0 w 8688388"/>
              <a:gd name="connsiteY3" fmla="*/ 6843712 h 6843712"/>
              <a:gd name="connsiteX4" fmla="*/ 0 w 8688388"/>
              <a:gd name="connsiteY4" fmla="*/ 0 h 6843712"/>
              <a:gd name="connsiteX0" fmla="*/ 0 w 8688388"/>
              <a:gd name="connsiteY0" fmla="*/ 0 h 6843712"/>
              <a:gd name="connsiteX1" fmla="*/ 8688388 w 8688388"/>
              <a:gd name="connsiteY1" fmla="*/ 0 h 6843712"/>
              <a:gd name="connsiteX2" fmla="*/ 8261968 w 8688388"/>
              <a:gd name="connsiteY2" fmla="*/ 6843712 h 6843712"/>
              <a:gd name="connsiteX3" fmla="*/ 0 w 8688388"/>
              <a:gd name="connsiteY3" fmla="*/ 6843712 h 6843712"/>
              <a:gd name="connsiteX4" fmla="*/ 0 w 8688388"/>
              <a:gd name="connsiteY4" fmla="*/ 0 h 6843712"/>
              <a:gd name="connsiteX0" fmla="*/ 0 w 8262938"/>
              <a:gd name="connsiteY0" fmla="*/ 6323 h 6850035"/>
              <a:gd name="connsiteX1" fmla="*/ 8262938 w 8262938"/>
              <a:gd name="connsiteY1" fmla="*/ 0 h 6850035"/>
              <a:gd name="connsiteX2" fmla="*/ 826196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2938" h="6850035">
                <a:moveTo>
                  <a:pt x="0" y="6323"/>
                </a:moveTo>
                <a:lnTo>
                  <a:pt x="8262938" y="0"/>
                </a:lnTo>
                <a:cubicBezTo>
                  <a:pt x="8040365" y="1606732"/>
                  <a:pt x="7608241" y="4851248"/>
                  <a:pt x="7392018" y="6850035"/>
                </a:cubicBezTo>
                <a:lnTo>
                  <a:pt x="0" y="6850035"/>
                </a:lnTo>
                <a:lnTo>
                  <a:pt x="0" y="6323"/>
                </a:lnTo>
                <a:close/>
              </a:path>
            </a:pathLst>
          </a:custGeom>
          <a:solidFill>
            <a:schemeClr val="accent1">
              <a:alpha val="71000"/>
            </a:schemeClr>
          </a:solidFill>
        </p:spPr>
        <p:txBody>
          <a:bodyPr wrap="square">
            <a:noAutofit/>
          </a:bodyPr>
          <a:lstStyle>
            <a:lvl1pPr>
              <a:lnSpc>
                <a:spcPct val="100000"/>
              </a:lnSpc>
              <a:defRPr/>
            </a:lvl1pPr>
          </a:lstStyle>
          <a:p>
            <a:pPr lvl="0"/>
            <a:r>
              <a:rPr lang="en-US"/>
              <a:t> </a:t>
            </a:r>
          </a:p>
        </p:txBody>
      </p:sp>
      <p:sp>
        <p:nvSpPr>
          <p:cNvPr id="42" name="Textplatzhalter 4">
            <a:extLst>
              <a:ext uri="{FF2B5EF4-FFF2-40B4-BE49-F238E27FC236}">
                <a16:creationId xmlns:a16="http://schemas.microsoft.com/office/drawing/2014/main" id="{A5549737-36F4-4377-8780-3644CA9A8803}"/>
              </a:ext>
            </a:extLst>
          </p:cNvPr>
          <p:cNvSpPr>
            <a:spLocks noGrp="1"/>
          </p:cNvSpPr>
          <p:nvPr>
            <p:ph type="body" sz="quarter" idx="21" hasCustomPrompt="1"/>
          </p:nvPr>
        </p:nvSpPr>
        <p:spPr bwMode="gray">
          <a:xfrm>
            <a:off x="0" y="0"/>
            <a:ext cx="7391400" cy="6872400"/>
          </a:xfrm>
          <a:solidFill>
            <a:schemeClr val="accent1">
              <a:alpha val="37000"/>
            </a:schemeClr>
          </a:solidFill>
        </p:spPr>
        <p:txBody>
          <a:bodyPr/>
          <a:lstStyle>
            <a:lvl1pPr>
              <a:lnSpc>
                <a:spcPct val="100000"/>
              </a:lnSpc>
              <a:defRPr/>
            </a:lvl1pPr>
          </a:lstStyle>
          <a:p>
            <a:pPr lvl="0"/>
            <a:r>
              <a:rPr lang="en-US"/>
              <a:t> </a:t>
            </a:r>
          </a:p>
        </p:txBody>
      </p:sp>
      <p:sp>
        <p:nvSpPr>
          <p:cNvPr id="44" name="Textplatzhalter 43">
            <a:extLst>
              <a:ext uri="{FF2B5EF4-FFF2-40B4-BE49-F238E27FC236}">
                <a16:creationId xmlns:a16="http://schemas.microsoft.com/office/drawing/2014/main" id="{DF190BAB-CD34-46F5-8CD1-2EC6A71D4705}"/>
              </a:ext>
            </a:extLst>
          </p:cNvPr>
          <p:cNvSpPr>
            <a:spLocks noGrp="1"/>
          </p:cNvSpPr>
          <p:nvPr>
            <p:ph type="body" sz="quarter" idx="22" hasCustomPrompt="1"/>
          </p:nvPr>
        </p:nvSpPr>
        <p:spPr bwMode="gray">
          <a:xfrm>
            <a:off x="49" y="0"/>
            <a:ext cx="7384397" cy="6885574"/>
          </a:xfrm>
          <a:custGeom>
            <a:avLst/>
            <a:gdLst>
              <a:gd name="connsiteX0" fmla="*/ 0 w 8688388"/>
              <a:gd name="connsiteY0" fmla="*/ 0 h 6843712"/>
              <a:gd name="connsiteX1" fmla="*/ 8688388 w 8688388"/>
              <a:gd name="connsiteY1" fmla="*/ 0 h 6843712"/>
              <a:gd name="connsiteX2" fmla="*/ 8688388 w 8688388"/>
              <a:gd name="connsiteY2" fmla="*/ 6502988 h 6843712"/>
              <a:gd name="connsiteX3" fmla="*/ 8489074 w 8688388"/>
              <a:gd name="connsiteY3" fmla="*/ 6843712 h 6843712"/>
              <a:gd name="connsiteX4" fmla="*/ 0 w 8688388"/>
              <a:gd name="connsiteY4" fmla="*/ 6843712 h 6843712"/>
              <a:gd name="connsiteX0" fmla="*/ 0 w 8688388"/>
              <a:gd name="connsiteY0" fmla="*/ 0 h 6843712"/>
              <a:gd name="connsiteX1" fmla="*/ 8688388 w 8688388"/>
              <a:gd name="connsiteY1" fmla="*/ 0 h 6843712"/>
              <a:gd name="connsiteX2" fmla="*/ 8489074 w 8688388"/>
              <a:gd name="connsiteY2" fmla="*/ 6843712 h 6843712"/>
              <a:gd name="connsiteX3" fmla="*/ 0 w 8688388"/>
              <a:gd name="connsiteY3" fmla="*/ 6843712 h 6843712"/>
              <a:gd name="connsiteX4" fmla="*/ 0 w 8688388"/>
              <a:gd name="connsiteY4" fmla="*/ 0 h 6843712"/>
              <a:gd name="connsiteX0" fmla="*/ 0 w 8688388"/>
              <a:gd name="connsiteY0" fmla="*/ 0 h 6843712"/>
              <a:gd name="connsiteX1" fmla="*/ 8688388 w 8688388"/>
              <a:gd name="connsiteY1" fmla="*/ 0 h 6843712"/>
              <a:gd name="connsiteX2" fmla="*/ 8261968 w 8688388"/>
              <a:gd name="connsiteY2" fmla="*/ 6843712 h 6843712"/>
              <a:gd name="connsiteX3" fmla="*/ 0 w 8688388"/>
              <a:gd name="connsiteY3" fmla="*/ 6843712 h 6843712"/>
              <a:gd name="connsiteX4" fmla="*/ 0 w 8688388"/>
              <a:gd name="connsiteY4" fmla="*/ 0 h 6843712"/>
              <a:gd name="connsiteX0" fmla="*/ 0 w 8262938"/>
              <a:gd name="connsiteY0" fmla="*/ 6323 h 6850035"/>
              <a:gd name="connsiteX1" fmla="*/ 8262938 w 8262938"/>
              <a:gd name="connsiteY1" fmla="*/ 0 h 6850035"/>
              <a:gd name="connsiteX2" fmla="*/ 826196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8262938"/>
              <a:gd name="connsiteY0" fmla="*/ 6323 h 6850035"/>
              <a:gd name="connsiteX1" fmla="*/ 8262938 w 8262938"/>
              <a:gd name="connsiteY1" fmla="*/ 0 h 6850035"/>
              <a:gd name="connsiteX2" fmla="*/ 7392018 w 8262938"/>
              <a:gd name="connsiteY2" fmla="*/ 6850035 h 6850035"/>
              <a:gd name="connsiteX3" fmla="*/ 0 w 8262938"/>
              <a:gd name="connsiteY3" fmla="*/ 6850035 h 6850035"/>
              <a:gd name="connsiteX4" fmla="*/ 0 w 8262938"/>
              <a:gd name="connsiteY4" fmla="*/ 6323 h 6850035"/>
              <a:gd name="connsiteX0" fmla="*/ 0 w 7452925"/>
              <a:gd name="connsiteY0" fmla="*/ 6323 h 6850035"/>
              <a:gd name="connsiteX1" fmla="*/ 7384397 w 7452925"/>
              <a:gd name="connsiteY1" fmla="*/ 0 h 6850035"/>
              <a:gd name="connsiteX2" fmla="*/ 7392018 w 7452925"/>
              <a:gd name="connsiteY2" fmla="*/ 6850035 h 6850035"/>
              <a:gd name="connsiteX3" fmla="*/ 0 w 7452925"/>
              <a:gd name="connsiteY3" fmla="*/ 6850035 h 6850035"/>
              <a:gd name="connsiteX4" fmla="*/ 0 w 7452925"/>
              <a:gd name="connsiteY4" fmla="*/ 6323 h 6850035"/>
              <a:gd name="connsiteX0" fmla="*/ 0 w 7384397"/>
              <a:gd name="connsiteY0" fmla="*/ 6323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6323 h 6856831"/>
              <a:gd name="connsiteX0" fmla="*/ 0 w 7384397"/>
              <a:gd name="connsiteY0" fmla="*/ 6323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6323 h 6856831"/>
              <a:gd name="connsiteX0" fmla="*/ 0 w 7384397"/>
              <a:gd name="connsiteY0" fmla="*/ 6323 h 6856831"/>
              <a:gd name="connsiteX1" fmla="*/ 7384397 w 7384397"/>
              <a:gd name="connsiteY1" fmla="*/ 0 h 6856831"/>
              <a:gd name="connsiteX2" fmla="*/ 5645105 w 7384397"/>
              <a:gd name="connsiteY2" fmla="*/ 6856831 h 6856831"/>
              <a:gd name="connsiteX3" fmla="*/ 0 w 7384397"/>
              <a:gd name="connsiteY3" fmla="*/ 6850035 h 6856831"/>
              <a:gd name="connsiteX4" fmla="*/ 0 w 7384397"/>
              <a:gd name="connsiteY4" fmla="*/ 6323 h 6856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4397" h="6856831">
                <a:moveTo>
                  <a:pt x="0" y="6323"/>
                </a:moveTo>
                <a:lnTo>
                  <a:pt x="7384397" y="0"/>
                </a:lnTo>
                <a:cubicBezTo>
                  <a:pt x="7114199" y="1018647"/>
                  <a:pt x="6213753" y="4829589"/>
                  <a:pt x="5645105" y="6856831"/>
                </a:cubicBezTo>
                <a:lnTo>
                  <a:pt x="0" y="6850035"/>
                </a:lnTo>
                <a:lnTo>
                  <a:pt x="0" y="6323"/>
                </a:lnTo>
                <a:close/>
              </a:path>
            </a:pathLst>
          </a:custGeom>
          <a:solidFill>
            <a:schemeClr val="accent1">
              <a:alpha val="86000"/>
            </a:schemeClr>
          </a:solidFill>
        </p:spPr>
        <p:txBody>
          <a:bodyPr wrap="square">
            <a:noAutofit/>
          </a:bodyPr>
          <a:lstStyle>
            <a:lvl1pPr>
              <a:lnSpc>
                <a:spcPct val="100000"/>
              </a:lnSpc>
              <a:defRPr/>
            </a:lvl1pPr>
          </a:lstStyle>
          <a:p>
            <a:pPr lvl="0"/>
            <a:r>
              <a:rPr lang="en-US"/>
              <a:t> </a:t>
            </a:r>
          </a:p>
        </p:txBody>
      </p:sp>
      <p:sp>
        <p:nvSpPr>
          <p:cNvPr id="35" name="Titel 1">
            <a:extLst>
              <a:ext uri="{FF2B5EF4-FFF2-40B4-BE49-F238E27FC236}">
                <a16:creationId xmlns:a16="http://schemas.microsoft.com/office/drawing/2014/main" id="{6E9EADC6-C90B-4381-829A-8A0892205FCC}"/>
              </a:ext>
            </a:extLst>
          </p:cNvPr>
          <p:cNvSpPr>
            <a:spLocks noGrp="1"/>
          </p:cNvSpPr>
          <p:nvPr>
            <p:ph type="ctrTitle" hasCustomPrompt="1"/>
          </p:nvPr>
        </p:nvSpPr>
        <p:spPr bwMode="gray">
          <a:xfrm>
            <a:off x="0" y="0"/>
            <a:ext cx="5663503" cy="6858000"/>
          </a:xfrm>
          <a:solidFill>
            <a:schemeClr val="accent1"/>
          </a:solidFill>
        </p:spPr>
        <p:txBody>
          <a:bodyPr lIns="396000" tIns="1440000" rIns="396000" bIns="1440000" anchor="b"/>
          <a:lstStyle>
            <a:lvl1pPr algn="l">
              <a:lnSpc>
                <a:spcPct val="100000"/>
              </a:lnSpc>
              <a:defRPr sz="4800">
                <a:solidFill>
                  <a:schemeClr val="bg1"/>
                </a:solidFill>
              </a:defRPr>
            </a:lvl1pPr>
          </a:lstStyle>
          <a:p>
            <a:r>
              <a:rPr lang="en-US" noProof="0"/>
              <a:t>Max. triple-spaced title</a:t>
            </a:r>
          </a:p>
        </p:txBody>
      </p:sp>
      <p:sp>
        <p:nvSpPr>
          <p:cNvPr id="33" name="Textplatzhalter 6">
            <a:extLst>
              <a:ext uri="{FF2B5EF4-FFF2-40B4-BE49-F238E27FC236}">
                <a16:creationId xmlns:a16="http://schemas.microsoft.com/office/drawing/2014/main" id="{0A973AC8-F101-445C-B22B-6D37072DD210}"/>
              </a:ext>
            </a:extLst>
          </p:cNvPr>
          <p:cNvSpPr>
            <a:spLocks noGrp="1"/>
          </p:cNvSpPr>
          <p:nvPr>
            <p:ph type="body" sz="quarter" idx="15" hasCustomPrompt="1"/>
          </p:nvPr>
        </p:nvSpPr>
        <p:spPr bwMode="gray">
          <a:xfrm>
            <a:off x="407592" y="404664"/>
            <a:ext cx="2016000" cy="486000"/>
          </a:xfrm>
          <a:blipFill>
            <a:blip r:embed="rId2"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
        <p:nvSpPr>
          <p:cNvPr id="34" name="Textplatzhalter 33">
            <a:extLst>
              <a:ext uri="{FF2B5EF4-FFF2-40B4-BE49-F238E27FC236}">
                <a16:creationId xmlns:a16="http://schemas.microsoft.com/office/drawing/2014/main" id="{B6D4AA3E-6361-4F09-8E08-9FA4CCC356D0}"/>
              </a:ext>
            </a:extLst>
          </p:cNvPr>
          <p:cNvSpPr>
            <a:spLocks noGrp="1"/>
          </p:cNvSpPr>
          <p:nvPr>
            <p:ph type="body" sz="quarter" idx="16" hasCustomPrompt="1"/>
          </p:nvPr>
        </p:nvSpPr>
        <p:spPr bwMode="gray">
          <a:xfrm>
            <a:off x="407988" y="6280536"/>
            <a:ext cx="1350000" cy="180000"/>
          </a:xfrm>
          <a:blipFill>
            <a:blip r:embed="rId3" cstate="hqprint">
              <a:extLst>
                <a:ext uri="{28A0092B-C50C-407E-A947-70E740481C1C}">
                  <a14:useLocalDpi xmlns:a14="http://schemas.microsoft.com/office/drawing/2010/main"/>
                </a:ext>
              </a:extLst>
            </a:blip>
            <a:stretch>
              <a:fillRect/>
            </a:stretch>
          </a:blipFill>
        </p:spPr>
        <p:txBody>
          <a:bodyPr/>
          <a:lstStyle>
            <a:lvl1pPr>
              <a:lnSpc>
                <a:spcPct val="100000"/>
              </a:lnSpc>
              <a:defRPr/>
            </a:lvl1pPr>
          </a:lstStyle>
          <a:p>
            <a:pPr lvl="0"/>
            <a:r>
              <a:rPr lang="en-US"/>
              <a:t>  </a:t>
            </a:r>
          </a:p>
        </p:txBody>
      </p:sp>
    </p:spTree>
    <p:extLst>
      <p:ext uri="{BB962C8B-B14F-4D97-AF65-F5344CB8AC3E}">
        <p14:creationId xmlns:p14="http://schemas.microsoft.com/office/powerpoint/2010/main" val="260135173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45000">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14:bounceEnd="45000">
                                          <p:cBhvr additive="base">
                                            <p:cTn id="7" dur="2000" fill="hold"/>
                                            <p:tgtEl>
                                              <p:spTgt spid="35"/>
                                            </p:tgtEl>
                                            <p:attrNameLst>
                                              <p:attrName>ppt_x</p:attrName>
                                            </p:attrNameLst>
                                          </p:cBhvr>
                                          <p:tavLst>
                                            <p:tav tm="0">
                                              <p:val>
                                                <p:strVal val="0-#ppt_w/2"/>
                                              </p:val>
                                            </p:tav>
                                            <p:tav tm="100000">
                                              <p:val>
                                                <p:strVal val="#ppt_x"/>
                                              </p:val>
                                            </p:tav>
                                          </p:tavLst>
                                        </p:anim>
                                        <p:anim calcmode="lin" valueType="num" p14:bounceEnd="45000">
                                          <p:cBhvr additive="base">
                                            <p:cTn id="8" dur="2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45000">
                                      <p:stCondLst>
                                        <p:cond delay="0"/>
                                      </p:stCondLst>
                                      <p:childTnLst>
                                        <p:set>
                                          <p:cBhvr>
                                            <p:cTn id="10" dur="1" fill="hold">
                                              <p:stCondLst>
                                                <p:cond delay="0"/>
                                              </p:stCondLst>
                                            </p:cTn>
                                            <p:tgtEl>
                                              <p:spTgt spid="5">
                                                <p:bg/>
                                              </p:spTgt>
                                            </p:tgtEl>
                                            <p:attrNameLst>
                                              <p:attrName>style.visibility</p:attrName>
                                            </p:attrNameLst>
                                          </p:cBhvr>
                                          <p:to>
                                            <p:strVal val="visible"/>
                                          </p:to>
                                        </p:set>
                                        <p:anim calcmode="lin" valueType="num" p14:bounceEnd="45000">
                                          <p:cBhvr additive="base">
                                            <p:cTn id="11" dur="2000" fill="hold"/>
                                            <p:tgtEl>
                                              <p:spTgt spid="5">
                                                <p:bg/>
                                              </p:spTgt>
                                            </p:tgtEl>
                                            <p:attrNameLst>
                                              <p:attrName>ppt_x</p:attrName>
                                            </p:attrNameLst>
                                          </p:cBhvr>
                                          <p:tavLst>
                                            <p:tav tm="0">
                                              <p:val>
                                                <p:strVal val="0-#ppt_w/2"/>
                                              </p:val>
                                            </p:tav>
                                            <p:tav tm="100000">
                                              <p:val>
                                                <p:strVal val="#ppt_x"/>
                                              </p:val>
                                            </p:tav>
                                          </p:tavLst>
                                        </p:anim>
                                        <p:anim calcmode="lin" valueType="num" p14:bounceEnd="45000">
                                          <p:cBhvr additive="base">
                                            <p:cTn id="12" dur="2000" fill="hold"/>
                                            <p:tgtEl>
                                              <p:spTgt spid="5">
                                                <p:bg/>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45000">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 calcmode="lin" valueType="num" p14:bounceEnd="45000">
                                          <p:cBhvr additive="base">
                                            <p:cTn id="15" dur="2000" fill="hold"/>
                                            <p:tgtEl>
                                              <p:spTgt spid="5">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16" dur="2000" fill="hold"/>
                                            <p:tgtEl>
                                              <p:spTgt spid="5">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14:presetBounceEnd="45000">
                                      <p:stCondLst>
                                        <p:cond delay="0"/>
                                      </p:stCondLst>
                                      <p:childTnLst>
                                        <p:set>
                                          <p:cBhvr>
                                            <p:cTn id="18" dur="1" fill="hold">
                                              <p:stCondLst>
                                                <p:cond delay="0"/>
                                              </p:stCondLst>
                                            </p:cTn>
                                            <p:tgtEl>
                                              <p:spTgt spid="39">
                                                <p:bg/>
                                              </p:spTgt>
                                            </p:tgtEl>
                                            <p:attrNameLst>
                                              <p:attrName>style.visibility</p:attrName>
                                            </p:attrNameLst>
                                          </p:cBhvr>
                                          <p:to>
                                            <p:strVal val="visible"/>
                                          </p:to>
                                        </p:set>
                                        <p:anim calcmode="lin" valueType="num" p14:bounceEnd="45000">
                                          <p:cBhvr additive="base">
                                            <p:cTn id="19" dur="2500" fill="hold"/>
                                            <p:tgtEl>
                                              <p:spTgt spid="39">
                                                <p:bg/>
                                              </p:spTgt>
                                            </p:tgtEl>
                                            <p:attrNameLst>
                                              <p:attrName>ppt_x</p:attrName>
                                            </p:attrNameLst>
                                          </p:cBhvr>
                                          <p:tavLst>
                                            <p:tav tm="0">
                                              <p:val>
                                                <p:strVal val="0-#ppt_w/2"/>
                                              </p:val>
                                            </p:tav>
                                            <p:tav tm="100000">
                                              <p:val>
                                                <p:strVal val="#ppt_x"/>
                                              </p:val>
                                            </p:tav>
                                          </p:tavLst>
                                        </p:anim>
                                        <p:anim calcmode="lin" valueType="num" p14:bounceEnd="45000">
                                          <p:cBhvr additive="base">
                                            <p:cTn id="20" dur="2500" fill="hold"/>
                                            <p:tgtEl>
                                              <p:spTgt spid="39">
                                                <p:bg/>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14:presetBounceEnd="45000">
                                      <p:stCondLst>
                                        <p:cond delay="0"/>
                                      </p:stCondLst>
                                      <p:childTnLst>
                                        <p:set>
                                          <p:cBhvr>
                                            <p:cTn id="22" dur="1" fill="hold">
                                              <p:stCondLst>
                                                <p:cond delay="0"/>
                                              </p:stCondLst>
                                            </p:cTn>
                                            <p:tgtEl>
                                              <p:spTgt spid="39">
                                                <p:txEl>
                                                  <p:pRg st="0" end="0"/>
                                                </p:txEl>
                                              </p:spTgt>
                                            </p:tgtEl>
                                            <p:attrNameLst>
                                              <p:attrName>style.visibility</p:attrName>
                                            </p:attrNameLst>
                                          </p:cBhvr>
                                          <p:to>
                                            <p:strVal val="visible"/>
                                          </p:to>
                                        </p:set>
                                        <p:anim calcmode="lin" valueType="num" p14:bounceEnd="45000">
                                          <p:cBhvr additive="base">
                                            <p:cTn id="23" dur="2500" fill="hold"/>
                                            <p:tgtEl>
                                              <p:spTgt spid="39">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24" dur="2500" fill="hold"/>
                                            <p:tgtEl>
                                              <p:spTgt spid="39">
                                                <p:txEl>
                                                  <p:pRg st="0" end="0"/>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14:presetBounceEnd="45000">
                                      <p:stCondLst>
                                        <p:cond delay="0"/>
                                      </p:stCondLst>
                                      <p:childTnLst>
                                        <p:set>
                                          <p:cBhvr>
                                            <p:cTn id="26" dur="1" fill="hold">
                                              <p:stCondLst>
                                                <p:cond delay="0"/>
                                              </p:stCondLst>
                                            </p:cTn>
                                            <p:tgtEl>
                                              <p:spTgt spid="40">
                                                <p:bg/>
                                              </p:spTgt>
                                            </p:tgtEl>
                                            <p:attrNameLst>
                                              <p:attrName>style.visibility</p:attrName>
                                            </p:attrNameLst>
                                          </p:cBhvr>
                                          <p:to>
                                            <p:strVal val="visible"/>
                                          </p:to>
                                        </p:set>
                                        <p:anim calcmode="lin" valueType="num" p14:bounceEnd="45000">
                                          <p:cBhvr additive="base">
                                            <p:cTn id="27" dur="2000" fill="hold"/>
                                            <p:tgtEl>
                                              <p:spTgt spid="40">
                                                <p:bg/>
                                              </p:spTgt>
                                            </p:tgtEl>
                                            <p:attrNameLst>
                                              <p:attrName>ppt_x</p:attrName>
                                            </p:attrNameLst>
                                          </p:cBhvr>
                                          <p:tavLst>
                                            <p:tav tm="0">
                                              <p:val>
                                                <p:strVal val="0-#ppt_w/2"/>
                                              </p:val>
                                            </p:tav>
                                            <p:tav tm="100000">
                                              <p:val>
                                                <p:strVal val="#ppt_x"/>
                                              </p:val>
                                            </p:tav>
                                          </p:tavLst>
                                        </p:anim>
                                        <p:anim calcmode="lin" valueType="num" p14:bounceEnd="45000">
                                          <p:cBhvr additive="base">
                                            <p:cTn id="28" dur="2000" fill="hold"/>
                                            <p:tgtEl>
                                              <p:spTgt spid="40">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14:presetBounceEnd="45000">
                                      <p:stCondLst>
                                        <p:cond delay="0"/>
                                      </p:stCondLst>
                                      <p:childTnLst>
                                        <p:set>
                                          <p:cBhvr>
                                            <p:cTn id="30" dur="1" fill="hold">
                                              <p:stCondLst>
                                                <p:cond delay="0"/>
                                              </p:stCondLst>
                                            </p:cTn>
                                            <p:tgtEl>
                                              <p:spTgt spid="40">
                                                <p:txEl>
                                                  <p:pRg st="0" end="0"/>
                                                </p:txEl>
                                              </p:spTgt>
                                            </p:tgtEl>
                                            <p:attrNameLst>
                                              <p:attrName>style.visibility</p:attrName>
                                            </p:attrNameLst>
                                          </p:cBhvr>
                                          <p:to>
                                            <p:strVal val="visible"/>
                                          </p:to>
                                        </p:set>
                                        <p:anim calcmode="lin" valueType="num" p14:bounceEnd="45000">
                                          <p:cBhvr additive="base">
                                            <p:cTn id="31" dur="2000" fill="hold"/>
                                            <p:tgtEl>
                                              <p:spTgt spid="40">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32" dur="2000" fill="hold"/>
                                            <p:tgtEl>
                                              <p:spTgt spid="40">
                                                <p:txEl>
                                                  <p:pRg st="0" end="0"/>
                                                </p:txEl>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14:presetBounceEnd="45000">
                                      <p:stCondLst>
                                        <p:cond delay="0"/>
                                      </p:stCondLst>
                                      <p:childTnLst>
                                        <p:set>
                                          <p:cBhvr>
                                            <p:cTn id="34" dur="1" fill="hold">
                                              <p:stCondLst>
                                                <p:cond delay="0"/>
                                              </p:stCondLst>
                                            </p:cTn>
                                            <p:tgtEl>
                                              <p:spTgt spid="41">
                                                <p:bg/>
                                              </p:spTgt>
                                            </p:tgtEl>
                                            <p:attrNameLst>
                                              <p:attrName>style.visibility</p:attrName>
                                            </p:attrNameLst>
                                          </p:cBhvr>
                                          <p:to>
                                            <p:strVal val="visible"/>
                                          </p:to>
                                        </p:set>
                                        <p:anim calcmode="lin" valueType="num" p14:bounceEnd="45000">
                                          <p:cBhvr additive="base">
                                            <p:cTn id="35" dur="2500" fill="hold"/>
                                            <p:tgtEl>
                                              <p:spTgt spid="41">
                                                <p:bg/>
                                              </p:spTgt>
                                            </p:tgtEl>
                                            <p:attrNameLst>
                                              <p:attrName>ppt_x</p:attrName>
                                            </p:attrNameLst>
                                          </p:cBhvr>
                                          <p:tavLst>
                                            <p:tav tm="0">
                                              <p:val>
                                                <p:strVal val="0-#ppt_w/2"/>
                                              </p:val>
                                            </p:tav>
                                            <p:tav tm="100000">
                                              <p:val>
                                                <p:strVal val="#ppt_x"/>
                                              </p:val>
                                            </p:tav>
                                          </p:tavLst>
                                        </p:anim>
                                        <p:anim calcmode="lin" valueType="num" p14:bounceEnd="45000">
                                          <p:cBhvr additive="base">
                                            <p:cTn id="36" dur="2500" fill="hold"/>
                                            <p:tgtEl>
                                              <p:spTgt spid="41">
                                                <p:bg/>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14:presetBounceEnd="45000">
                                      <p:stCondLst>
                                        <p:cond delay="0"/>
                                      </p:stCondLst>
                                      <p:childTnLst>
                                        <p:set>
                                          <p:cBhvr>
                                            <p:cTn id="38" dur="1" fill="hold">
                                              <p:stCondLst>
                                                <p:cond delay="0"/>
                                              </p:stCondLst>
                                            </p:cTn>
                                            <p:tgtEl>
                                              <p:spTgt spid="41">
                                                <p:txEl>
                                                  <p:pRg st="0" end="0"/>
                                                </p:txEl>
                                              </p:spTgt>
                                            </p:tgtEl>
                                            <p:attrNameLst>
                                              <p:attrName>style.visibility</p:attrName>
                                            </p:attrNameLst>
                                          </p:cBhvr>
                                          <p:to>
                                            <p:strVal val="visible"/>
                                          </p:to>
                                        </p:set>
                                        <p:anim calcmode="lin" valueType="num" p14:bounceEnd="45000">
                                          <p:cBhvr additive="base">
                                            <p:cTn id="39" dur="2500" fill="hold"/>
                                            <p:tgtEl>
                                              <p:spTgt spid="41">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40" dur="2500" fill="hold"/>
                                            <p:tgtEl>
                                              <p:spTgt spid="41">
                                                <p:txEl>
                                                  <p:pRg st="0" end="0"/>
                                                </p:tx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14:presetBounceEnd="45000">
                                      <p:stCondLst>
                                        <p:cond delay="0"/>
                                      </p:stCondLst>
                                      <p:childTnLst>
                                        <p:set>
                                          <p:cBhvr>
                                            <p:cTn id="42" dur="1" fill="hold">
                                              <p:stCondLst>
                                                <p:cond delay="0"/>
                                              </p:stCondLst>
                                            </p:cTn>
                                            <p:tgtEl>
                                              <p:spTgt spid="42">
                                                <p:bg/>
                                              </p:spTgt>
                                            </p:tgtEl>
                                            <p:attrNameLst>
                                              <p:attrName>style.visibility</p:attrName>
                                            </p:attrNameLst>
                                          </p:cBhvr>
                                          <p:to>
                                            <p:strVal val="visible"/>
                                          </p:to>
                                        </p:set>
                                        <p:anim calcmode="lin" valueType="num" p14:bounceEnd="45000">
                                          <p:cBhvr additive="base">
                                            <p:cTn id="43" dur="2000" fill="hold"/>
                                            <p:tgtEl>
                                              <p:spTgt spid="42">
                                                <p:bg/>
                                              </p:spTgt>
                                            </p:tgtEl>
                                            <p:attrNameLst>
                                              <p:attrName>ppt_x</p:attrName>
                                            </p:attrNameLst>
                                          </p:cBhvr>
                                          <p:tavLst>
                                            <p:tav tm="0">
                                              <p:val>
                                                <p:strVal val="0-#ppt_w/2"/>
                                              </p:val>
                                            </p:tav>
                                            <p:tav tm="100000">
                                              <p:val>
                                                <p:strVal val="#ppt_x"/>
                                              </p:val>
                                            </p:tav>
                                          </p:tavLst>
                                        </p:anim>
                                        <p:anim calcmode="lin" valueType="num" p14:bounceEnd="45000">
                                          <p:cBhvr additive="base">
                                            <p:cTn id="44" dur="2000" fill="hold"/>
                                            <p:tgtEl>
                                              <p:spTgt spid="42">
                                                <p:bg/>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14:presetBounceEnd="45000">
                                      <p:stCondLst>
                                        <p:cond delay="0"/>
                                      </p:stCondLst>
                                      <p:childTnLst>
                                        <p:set>
                                          <p:cBhvr>
                                            <p:cTn id="46" dur="1" fill="hold">
                                              <p:stCondLst>
                                                <p:cond delay="0"/>
                                              </p:stCondLst>
                                            </p:cTn>
                                            <p:tgtEl>
                                              <p:spTgt spid="42">
                                                <p:txEl>
                                                  <p:pRg st="0" end="0"/>
                                                </p:txEl>
                                              </p:spTgt>
                                            </p:tgtEl>
                                            <p:attrNameLst>
                                              <p:attrName>style.visibility</p:attrName>
                                            </p:attrNameLst>
                                          </p:cBhvr>
                                          <p:to>
                                            <p:strVal val="visible"/>
                                          </p:to>
                                        </p:set>
                                        <p:anim calcmode="lin" valueType="num" p14:bounceEnd="45000">
                                          <p:cBhvr additive="base">
                                            <p:cTn id="47" dur="2000" fill="hold"/>
                                            <p:tgtEl>
                                              <p:spTgt spid="42">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48" dur="2000" fill="hold"/>
                                            <p:tgtEl>
                                              <p:spTgt spid="42">
                                                <p:txEl>
                                                  <p:pRg st="0" end="0"/>
                                                </p:txEl>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14:presetBounceEnd="45000">
                                      <p:stCondLst>
                                        <p:cond delay="0"/>
                                      </p:stCondLst>
                                      <p:childTnLst>
                                        <p:set>
                                          <p:cBhvr>
                                            <p:cTn id="50" dur="1" fill="hold">
                                              <p:stCondLst>
                                                <p:cond delay="0"/>
                                              </p:stCondLst>
                                            </p:cTn>
                                            <p:tgtEl>
                                              <p:spTgt spid="44">
                                                <p:bg/>
                                              </p:spTgt>
                                            </p:tgtEl>
                                            <p:attrNameLst>
                                              <p:attrName>style.visibility</p:attrName>
                                            </p:attrNameLst>
                                          </p:cBhvr>
                                          <p:to>
                                            <p:strVal val="visible"/>
                                          </p:to>
                                        </p:set>
                                        <p:anim calcmode="lin" valueType="num" p14:bounceEnd="45000">
                                          <p:cBhvr additive="base">
                                            <p:cTn id="51" dur="2000" fill="hold"/>
                                            <p:tgtEl>
                                              <p:spTgt spid="44">
                                                <p:bg/>
                                              </p:spTgt>
                                            </p:tgtEl>
                                            <p:attrNameLst>
                                              <p:attrName>ppt_x</p:attrName>
                                            </p:attrNameLst>
                                          </p:cBhvr>
                                          <p:tavLst>
                                            <p:tav tm="0">
                                              <p:val>
                                                <p:strVal val="0-#ppt_w/2"/>
                                              </p:val>
                                            </p:tav>
                                            <p:tav tm="100000">
                                              <p:val>
                                                <p:strVal val="#ppt_x"/>
                                              </p:val>
                                            </p:tav>
                                          </p:tavLst>
                                        </p:anim>
                                        <p:anim calcmode="lin" valueType="num" p14:bounceEnd="45000">
                                          <p:cBhvr additive="base">
                                            <p:cTn id="52" dur="2000" fill="hold"/>
                                            <p:tgtEl>
                                              <p:spTgt spid="44">
                                                <p:bg/>
                                              </p:spTgt>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14:presetBounceEnd="45000">
                                      <p:stCondLst>
                                        <p:cond delay="0"/>
                                      </p:stCondLst>
                                      <p:childTnLst>
                                        <p:set>
                                          <p:cBhvr>
                                            <p:cTn id="54" dur="1" fill="hold">
                                              <p:stCondLst>
                                                <p:cond delay="0"/>
                                              </p:stCondLst>
                                            </p:cTn>
                                            <p:tgtEl>
                                              <p:spTgt spid="44">
                                                <p:txEl>
                                                  <p:pRg st="0" end="0"/>
                                                </p:txEl>
                                              </p:spTgt>
                                            </p:tgtEl>
                                            <p:attrNameLst>
                                              <p:attrName>style.visibility</p:attrName>
                                            </p:attrNameLst>
                                          </p:cBhvr>
                                          <p:to>
                                            <p:strVal val="visible"/>
                                          </p:to>
                                        </p:set>
                                        <p:anim calcmode="lin" valueType="num" p14:bounceEnd="45000">
                                          <p:cBhvr additive="base">
                                            <p:cTn id="55" dur="2000" fill="hold"/>
                                            <p:tgtEl>
                                              <p:spTgt spid="44">
                                                <p:txEl>
                                                  <p:pRg st="0" end="0"/>
                                                </p:txEl>
                                              </p:spTgt>
                                            </p:tgtEl>
                                            <p:attrNameLst>
                                              <p:attrName>ppt_x</p:attrName>
                                            </p:attrNameLst>
                                          </p:cBhvr>
                                          <p:tavLst>
                                            <p:tav tm="0">
                                              <p:val>
                                                <p:strVal val="0-#ppt_w/2"/>
                                              </p:val>
                                            </p:tav>
                                            <p:tav tm="100000">
                                              <p:val>
                                                <p:strVal val="#ppt_x"/>
                                              </p:val>
                                            </p:tav>
                                          </p:tavLst>
                                        </p:anim>
                                        <p:anim calcmode="lin" valueType="num" p14:bounceEnd="45000">
                                          <p:cBhvr additive="base">
                                            <p:cTn id="56" dur="2000" fill="hold"/>
                                            <p:tgtEl>
                                              <p:spTgt spid="44">
                                                <p:txEl>
                                                  <p:pRg st="0" end="0"/>
                                                </p:txEl>
                                              </p:spTgt>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15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1+#ppt_w/2"/>
                                              </p:val>
                                            </p:tav>
                                            <p:tav tm="100000">
                                              <p:val>
                                                <p:strVal val="#ppt_x"/>
                                              </p:val>
                                            </p:tav>
                                          </p:tavLst>
                                        </p:anim>
                                        <p:anim calcmode="lin" valueType="num">
                                          <p:cBhvr additive="base">
                                            <p:cTn id="60"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5"/>
                            </p:tgtEl>
                            <p:attrNameLst>
                              <p:attrName>style.visibility</p:attrName>
                            </p:attrNameLst>
                          </p:cBhvr>
                          <p:to>
                            <p:strVal val="visible"/>
                          </p:to>
                        </p:set>
                        <p:anim calcmode="lin" valueType="num" p14:bounceEnd="45000">
                          <p:cBhvr additive="base">
                            <p:cTn dur="2000" fill="hold"/>
                            <p:tgtEl>
                              <p:spTgt spid="5"/>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5"/>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5"/>
                            </p:tgtEl>
                            <p:attrNameLst>
                              <p:attrName>style.visibility</p:attrName>
                            </p:attrNameLst>
                          </p:cBhvr>
                          <p:to>
                            <p:strVal val="visible"/>
                          </p:to>
                        </p:set>
                        <p:anim calcmode="lin" valueType="num" p14:bounceEnd="45000">
                          <p:cBhvr additive="base">
                            <p:cTn dur="2000" fill="hold"/>
                            <p:tgtEl>
                              <p:spTgt spid="5"/>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5"/>
                            </p:tgtEl>
                            <p:attrNameLst>
                              <p:attrName>ppt_y</p:attrName>
                            </p:attrNameLst>
                          </p:cBhvr>
                          <p:tavLst>
                            <p:tav tm="0">
                              <p:val>
                                <p:strVal val="#ppt_y"/>
                              </p:val>
                            </p:tav>
                            <p:tav tm="100000">
                              <p:val>
                                <p:strVal val="#ppt_y"/>
                              </p:val>
                            </p:tav>
                          </p:tavLst>
                        </p:anim>
                      </p:childTnLst>
                    </p:cTn>
                  </p:par>
                </p:tnLst>
              </p:tmpl>
            </p:tmplLst>
          </p:bldP>
          <p:bldP spid="39"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39"/>
                            </p:tgtEl>
                            <p:attrNameLst>
                              <p:attrName>style.visibility</p:attrName>
                            </p:attrNameLst>
                          </p:cBhvr>
                          <p:to>
                            <p:strVal val="visible"/>
                          </p:to>
                        </p:set>
                        <p:anim calcmode="lin" valueType="num" p14:bounceEnd="45000">
                          <p:cBhvr additive="base">
                            <p:cTn dur="2500" fill="hold"/>
                            <p:tgtEl>
                              <p:spTgt spid="39"/>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39"/>
                            </p:tgtEl>
                            <p:attrNameLst>
                              <p:attrName>style.visibility</p:attrName>
                            </p:attrNameLst>
                          </p:cBhvr>
                          <p:to>
                            <p:strVal val="visible"/>
                          </p:to>
                        </p:set>
                        <p:anim calcmode="lin" valueType="num" p14:bounceEnd="45000">
                          <p:cBhvr additive="base">
                            <p:cTn dur="2500" fill="hold"/>
                            <p:tgtEl>
                              <p:spTgt spid="39"/>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39"/>
                            </p:tgtEl>
                            <p:attrNameLst>
                              <p:attrName>ppt_y</p:attrName>
                            </p:attrNameLst>
                          </p:cBhvr>
                          <p:tavLst>
                            <p:tav tm="0">
                              <p:val>
                                <p:strVal val="#ppt_y"/>
                              </p:val>
                            </p:tav>
                            <p:tav tm="100000">
                              <p:val>
                                <p:strVal val="#ppt_y"/>
                              </p:val>
                            </p:tav>
                          </p:tavLst>
                        </p:anim>
                      </p:childTnLst>
                    </p:cTn>
                  </p:par>
                </p:tnLst>
              </p:tmpl>
            </p:tmplLst>
          </p:bldP>
          <p:bldP spid="40"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40"/>
                            </p:tgtEl>
                            <p:attrNameLst>
                              <p:attrName>style.visibility</p:attrName>
                            </p:attrNameLst>
                          </p:cBhvr>
                          <p:to>
                            <p:strVal val="visible"/>
                          </p:to>
                        </p:set>
                        <p:anim calcmode="lin" valueType="num" p14:bounceEnd="45000">
                          <p:cBhvr additive="base">
                            <p:cTn dur="2000" fill="hold"/>
                            <p:tgtEl>
                              <p:spTgt spid="40"/>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0"/>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40"/>
                            </p:tgtEl>
                            <p:attrNameLst>
                              <p:attrName>style.visibility</p:attrName>
                            </p:attrNameLst>
                          </p:cBhvr>
                          <p:to>
                            <p:strVal val="visible"/>
                          </p:to>
                        </p:set>
                        <p:anim calcmode="lin" valueType="num" p14:bounceEnd="45000">
                          <p:cBhvr additive="base">
                            <p:cTn dur="2000" fill="hold"/>
                            <p:tgtEl>
                              <p:spTgt spid="40"/>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0"/>
                            </p:tgtEl>
                            <p:attrNameLst>
                              <p:attrName>ppt_y</p:attrName>
                            </p:attrNameLst>
                          </p:cBhvr>
                          <p:tavLst>
                            <p:tav tm="0">
                              <p:val>
                                <p:strVal val="#ppt_y"/>
                              </p:val>
                            </p:tav>
                            <p:tav tm="100000">
                              <p:val>
                                <p:strVal val="#ppt_y"/>
                              </p:val>
                            </p:tav>
                          </p:tavLst>
                        </p:anim>
                      </p:childTnLst>
                    </p:cTn>
                  </p:par>
                </p:tnLst>
              </p:tmpl>
            </p:tmplLst>
          </p:bldP>
          <p:bldP spid="41"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41"/>
                            </p:tgtEl>
                            <p:attrNameLst>
                              <p:attrName>style.visibility</p:attrName>
                            </p:attrNameLst>
                          </p:cBhvr>
                          <p:to>
                            <p:strVal val="visible"/>
                          </p:to>
                        </p:set>
                        <p:anim calcmode="lin" valueType="num" p14:bounceEnd="45000">
                          <p:cBhvr additive="base">
                            <p:cTn dur="2500" fill="hold"/>
                            <p:tgtEl>
                              <p:spTgt spid="41"/>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41"/>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41"/>
                            </p:tgtEl>
                            <p:attrNameLst>
                              <p:attrName>style.visibility</p:attrName>
                            </p:attrNameLst>
                          </p:cBhvr>
                          <p:to>
                            <p:strVal val="visible"/>
                          </p:to>
                        </p:set>
                        <p:anim calcmode="lin" valueType="num" p14:bounceEnd="45000">
                          <p:cBhvr additive="base">
                            <p:cTn dur="2500" fill="hold"/>
                            <p:tgtEl>
                              <p:spTgt spid="41"/>
                            </p:tgtEl>
                            <p:attrNameLst>
                              <p:attrName>ppt_x</p:attrName>
                            </p:attrNameLst>
                          </p:cBhvr>
                          <p:tavLst>
                            <p:tav tm="0">
                              <p:val>
                                <p:strVal val="0-#ppt_w/2"/>
                              </p:val>
                            </p:tav>
                            <p:tav tm="100000">
                              <p:val>
                                <p:strVal val="#ppt_x"/>
                              </p:val>
                            </p:tav>
                          </p:tavLst>
                        </p:anim>
                        <p:anim calcmode="lin" valueType="num" p14:bounceEnd="45000">
                          <p:cBhvr additive="base">
                            <p:cTn dur="2500" fill="hold"/>
                            <p:tgtEl>
                              <p:spTgt spid="41"/>
                            </p:tgtEl>
                            <p:attrNameLst>
                              <p:attrName>ppt_y</p:attrName>
                            </p:attrNameLst>
                          </p:cBhvr>
                          <p:tavLst>
                            <p:tav tm="0">
                              <p:val>
                                <p:strVal val="#ppt_y"/>
                              </p:val>
                            </p:tav>
                            <p:tav tm="100000">
                              <p:val>
                                <p:strVal val="#ppt_y"/>
                              </p:val>
                            </p:tav>
                          </p:tavLst>
                        </p:anim>
                      </p:childTnLst>
                    </p:cTn>
                  </p:par>
                </p:tnLst>
              </p:tmpl>
            </p:tmplLst>
          </p:bldP>
          <p:bldP spid="42"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42"/>
                            </p:tgtEl>
                            <p:attrNameLst>
                              <p:attrName>style.visibility</p:attrName>
                            </p:attrNameLst>
                          </p:cBhvr>
                          <p:to>
                            <p:strVal val="visible"/>
                          </p:to>
                        </p:set>
                        <p:anim calcmode="lin" valueType="num" p14:bounceEnd="45000">
                          <p:cBhvr additive="base">
                            <p:cTn dur="2000" fill="hold"/>
                            <p:tgtEl>
                              <p:spTgt spid="42"/>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2"/>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42"/>
                            </p:tgtEl>
                            <p:attrNameLst>
                              <p:attrName>style.visibility</p:attrName>
                            </p:attrNameLst>
                          </p:cBhvr>
                          <p:to>
                            <p:strVal val="visible"/>
                          </p:to>
                        </p:set>
                        <p:anim calcmode="lin" valueType="num" p14:bounceEnd="45000">
                          <p:cBhvr additive="base">
                            <p:cTn dur="2000" fill="hold"/>
                            <p:tgtEl>
                              <p:spTgt spid="42"/>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2"/>
                            </p:tgtEl>
                            <p:attrNameLst>
                              <p:attrName>ppt_y</p:attrName>
                            </p:attrNameLst>
                          </p:cBhvr>
                          <p:tavLst>
                            <p:tav tm="0">
                              <p:val>
                                <p:strVal val="#ppt_y"/>
                              </p:val>
                            </p:tav>
                            <p:tav tm="100000">
                              <p:val>
                                <p:strVal val="#ppt_y"/>
                              </p:val>
                            </p:tav>
                          </p:tavLst>
                        </p:anim>
                      </p:childTnLst>
                    </p:cTn>
                  </p:par>
                </p:tnLst>
              </p:tmpl>
            </p:tmplLst>
          </p:bldP>
          <p:bldP spid="44" grpId="0" build="p" animBg="1">
            <p:tmplLst>
              <p:tmpl>
                <p:tnLst>
                  <p:par>
                    <p:cTn presetID="2" presetClass="entr" presetSubtype="8" fill="hold" nodeType="withEffect" p14:presetBounceEnd="45000">
                      <p:stCondLst>
                        <p:cond delay="0"/>
                      </p:stCondLst>
                      <p:childTnLst>
                        <p:set>
                          <p:cBhvr>
                            <p:cTn dur="1" fill="hold">
                              <p:stCondLst>
                                <p:cond delay="0"/>
                              </p:stCondLst>
                            </p:cTn>
                            <p:tgtEl>
                              <p:spTgt spid="44"/>
                            </p:tgtEl>
                            <p:attrNameLst>
                              <p:attrName>style.visibility</p:attrName>
                            </p:attrNameLst>
                          </p:cBhvr>
                          <p:to>
                            <p:strVal val="visible"/>
                          </p:to>
                        </p:set>
                        <p:anim calcmode="lin" valueType="num" p14:bounceEnd="45000">
                          <p:cBhvr additive="base">
                            <p:cTn dur="2000" fill="hold"/>
                            <p:tgtEl>
                              <p:spTgt spid="44"/>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14:presetBounceEnd="45000">
                      <p:stCondLst>
                        <p:cond delay="0"/>
                      </p:stCondLst>
                      <p:childTnLst>
                        <p:set>
                          <p:cBhvr>
                            <p:cTn dur="1" fill="hold">
                              <p:stCondLst>
                                <p:cond delay="0"/>
                              </p:stCondLst>
                            </p:cTn>
                            <p:tgtEl>
                              <p:spTgt spid="44"/>
                            </p:tgtEl>
                            <p:attrNameLst>
                              <p:attrName>style.visibility</p:attrName>
                            </p:attrNameLst>
                          </p:cBhvr>
                          <p:to>
                            <p:strVal val="visible"/>
                          </p:to>
                        </p:set>
                        <p:anim calcmode="lin" valueType="num" p14:bounceEnd="45000">
                          <p:cBhvr additive="base">
                            <p:cTn dur="2000" fill="hold"/>
                            <p:tgtEl>
                              <p:spTgt spid="44"/>
                            </p:tgtEl>
                            <p:attrNameLst>
                              <p:attrName>ppt_x</p:attrName>
                            </p:attrNameLst>
                          </p:cBhvr>
                          <p:tavLst>
                            <p:tav tm="0">
                              <p:val>
                                <p:strVal val="0-#ppt_w/2"/>
                              </p:val>
                            </p:tav>
                            <p:tav tm="100000">
                              <p:val>
                                <p:strVal val="#ppt_x"/>
                              </p:val>
                            </p:tav>
                          </p:tavLst>
                        </p:anim>
                        <p:anim calcmode="lin" valueType="num" p14:bounceEnd="45000">
                          <p:cBhvr additive="base">
                            <p:cTn dur="2000" fill="hold"/>
                            <p:tgtEl>
                              <p:spTgt spid="44"/>
                            </p:tgtEl>
                            <p:attrNameLst>
                              <p:attrName>ppt_y</p:attrName>
                            </p:attrNameLst>
                          </p:cBhvr>
                          <p:tavLst>
                            <p:tav tm="0">
                              <p:val>
                                <p:strVal val="#ppt_y"/>
                              </p:val>
                            </p:tav>
                            <p:tav tm="100000">
                              <p:val>
                                <p:strVal val="#ppt_y"/>
                              </p:val>
                            </p:tav>
                          </p:tavLst>
                        </p:anim>
                      </p:childTnLst>
                    </p:cTn>
                  </p:par>
                </p:tnLst>
              </p:tmpl>
            </p:tmplLst>
          </p:bldP>
          <p:bldP spid="3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2000" fill="hold"/>
                                            <p:tgtEl>
                                              <p:spTgt spid="35"/>
                                            </p:tgtEl>
                                            <p:attrNameLst>
                                              <p:attrName>ppt_x</p:attrName>
                                            </p:attrNameLst>
                                          </p:cBhvr>
                                          <p:tavLst>
                                            <p:tav tm="0">
                                              <p:val>
                                                <p:strVal val="0-#ppt_w/2"/>
                                              </p:val>
                                            </p:tav>
                                            <p:tav tm="100000">
                                              <p:val>
                                                <p:strVal val="#ppt_x"/>
                                              </p:val>
                                            </p:tav>
                                          </p:tavLst>
                                        </p:anim>
                                        <p:anim calcmode="lin" valueType="num">
                                          <p:cBhvr additive="base">
                                            <p:cTn id="8" dur="2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5">
                                                <p:bg/>
                                              </p:spTgt>
                                            </p:tgtEl>
                                            <p:attrNameLst>
                                              <p:attrName>style.visibility</p:attrName>
                                            </p:attrNameLst>
                                          </p:cBhvr>
                                          <p:to>
                                            <p:strVal val="visible"/>
                                          </p:to>
                                        </p:set>
                                        <p:anim calcmode="lin" valueType="num">
                                          <p:cBhvr additive="base">
                                            <p:cTn id="11" dur="2000" fill="hold"/>
                                            <p:tgtEl>
                                              <p:spTgt spid="5">
                                                <p:bg/>
                                              </p:spTgt>
                                            </p:tgtEl>
                                            <p:attrNameLst>
                                              <p:attrName>ppt_x</p:attrName>
                                            </p:attrNameLst>
                                          </p:cBhvr>
                                          <p:tavLst>
                                            <p:tav tm="0">
                                              <p:val>
                                                <p:strVal val="0-#ppt_w/2"/>
                                              </p:val>
                                            </p:tav>
                                            <p:tav tm="100000">
                                              <p:val>
                                                <p:strVal val="#ppt_x"/>
                                              </p:val>
                                            </p:tav>
                                          </p:tavLst>
                                        </p:anim>
                                        <p:anim calcmode="lin" valueType="num">
                                          <p:cBhvr additive="base">
                                            <p:cTn id="12" dur="2000" fill="hold"/>
                                            <p:tgtEl>
                                              <p:spTgt spid="5">
                                                <p:bg/>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 calcmode="lin" valueType="num">
                                          <p:cBhvr additive="base">
                                            <p:cTn id="15" dur="20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16" dur="2000" fill="hold"/>
                                            <p:tgtEl>
                                              <p:spTgt spid="5">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9">
                                                <p:bg/>
                                              </p:spTgt>
                                            </p:tgtEl>
                                            <p:attrNameLst>
                                              <p:attrName>style.visibility</p:attrName>
                                            </p:attrNameLst>
                                          </p:cBhvr>
                                          <p:to>
                                            <p:strVal val="visible"/>
                                          </p:to>
                                        </p:set>
                                        <p:anim calcmode="lin" valueType="num">
                                          <p:cBhvr additive="base">
                                            <p:cTn id="19" dur="2500" fill="hold"/>
                                            <p:tgtEl>
                                              <p:spTgt spid="39">
                                                <p:bg/>
                                              </p:spTgt>
                                            </p:tgtEl>
                                            <p:attrNameLst>
                                              <p:attrName>ppt_x</p:attrName>
                                            </p:attrNameLst>
                                          </p:cBhvr>
                                          <p:tavLst>
                                            <p:tav tm="0">
                                              <p:val>
                                                <p:strVal val="0-#ppt_w/2"/>
                                              </p:val>
                                            </p:tav>
                                            <p:tav tm="100000">
                                              <p:val>
                                                <p:strVal val="#ppt_x"/>
                                              </p:val>
                                            </p:tav>
                                          </p:tavLst>
                                        </p:anim>
                                        <p:anim calcmode="lin" valueType="num">
                                          <p:cBhvr additive="base">
                                            <p:cTn id="20" dur="2500" fill="hold"/>
                                            <p:tgtEl>
                                              <p:spTgt spid="39">
                                                <p:bg/>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39">
                                                <p:txEl>
                                                  <p:pRg st="0" end="0"/>
                                                </p:txEl>
                                              </p:spTgt>
                                            </p:tgtEl>
                                            <p:attrNameLst>
                                              <p:attrName>style.visibility</p:attrName>
                                            </p:attrNameLst>
                                          </p:cBhvr>
                                          <p:to>
                                            <p:strVal val="visible"/>
                                          </p:to>
                                        </p:set>
                                        <p:anim calcmode="lin" valueType="num">
                                          <p:cBhvr additive="base">
                                            <p:cTn id="23" dur="2500" fill="hold"/>
                                            <p:tgtEl>
                                              <p:spTgt spid="39">
                                                <p:txEl>
                                                  <p:pRg st="0" end="0"/>
                                                </p:txEl>
                                              </p:spTgt>
                                            </p:tgtEl>
                                            <p:attrNameLst>
                                              <p:attrName>ppt_x</p:attrName>
                                            </p:attrNameLst>
                                          </p:cBhvr>
                                          <p:tavLst>
                                            <p:tav tm="0">
                                              <p:val>
                                                <p:strVal val="0-#ppt_w/2"/>
                                              </p:val>
                                            </p:tav>
                                            <p:tav tm="100000">
                                              <p:val>
                                                <p:strVal val="#ppt_x"/>
                                              </p:val>
                                            </p:tav>
                                          </p:tavLst>
                                        </p:anim>
                                        <p:anim calcmode="lin" valueType="num">
                                          <p:cBhvr additive="base">
                                            <p:cTn id="24" dur="2500" fill="hold"/>
                                            <p:tgtEl>
                                              <p:spTgt spid="39">
                                                <p:txEl>
                                                  <p:pRg st="0" end="0"/>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40">
                                                <p:bg/>
                                              </p:spTgt>
                                            </p:tgtEl>
                                            <p:attrNameLst>
                                              <p:attrName>style.visibility</p:attrName>
                                            </p:attrNameLst>
                                          </p:cBhvr>
                                          <p:to>
                                            <p:strVal val="visible"/>
                                          </p:to>
                                        </p:set>
                                        <p:anim calcmode="lin" valueType="num">
                                          <p:cBhvr additive="base">
                                            <p:cTn id="27" dur="2000" fill="hold"/>
                                            <p:tgtEl>
                                              <p:spTgt spid="40">
                                                <p:bg/>
                                              </p:spTgt>
                                            </p:tgtEl>
                                            <p:attrNameLst>
                                              <p:attrName>ppt_x</p:attrName>
                                            </p:attrNameLst>
                                          </p:cBhvr>
                                          <p:tavLst>
                                            <p:tav tm="0">
                                              <p:val>
                                                <p:strVal val="0-#ppt_w/2"/>
                                              </p:val>
                                            </p:tav>
                                            <p:tav tm="100000">
                                              <p:val>
                                                <p:strVal val="#ppt_x"/>
                                              </p:val>
                                            </p:tav>
                                          </p:tavLst>
                                        </p:anim>
                                        <p:anim calcmode="lin" valueType="num">
                                          <p:cBhvr additive="base">
                                            <p:cTn id="28" dur="2000" fill="hold"/>
                                            <p:tgtEl>
                                              <p:spTgt spid="40">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40">
                                                <p:txEl>
                                                  <p:pRg st="0" end="0"/>
                                                </p:txEl>
                                              </p:spTgt>
                                            </p:tgtEl>
                                            <p:attrNameLst>
                                              <p:attrName>style.visibility</p:attrName>
                                            </p:attrNameLst>
                                          </p:cBhvr>
                                          <p:to>
                                            <p:strVal val="visible"/>
                                          </p:to>
                                        </p:set>
                                        <p:anim calcmode="lin" valueType="num">
                                          <p:cBhvr additive="base">
                                            <p:cTn id="31" dur="2000" fill="hold"/>
                                            <p:tgtEl>
                                              <p:spTgt spid="40">
                                                <p:txEl>
                                                  <p:pRg st="0" end="0"/>
                                                </p:txEl>
                                              </p:spTgt>
                                            </p:tgtEl>
                                            <p:attrNameLst>
                                              <p:attrName>ppt_x</p:attrName>
                                            </p:attrNameLst>
                                          </p:cBhvr>
                                          <p:tavLst>
                                            <p:tav tm="0">
                                              <p:val>
                                                <p:strVal val="0-#ppt_w/2"/>
                                              </p:val>
                                            </p:tav>
                                            <p:tav tm="100000">
                                              <p:val>
                                                <p:strVal val="#ppt_x"/>
                                              </p:val>
                                            </p:tav>
                                          </p:tavLst>
                                        </p:anim>
                                        <p:anim calcmode="lin" valueType="num">
                                          <p:cBhvr additive="base">
                                            <p:cTn id="32" dur="2000" fill="hold"/>
                                            <p:tgtEl>
                                              <p:spTgt spid="40">
                                                <p:txEl>
                                                  <p:pRg st="0" end="0"/>
                                                </p:txEl>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41">
                                                <p:bg/>
                                              </p:spTgt>
                                            </p:tgtEl>
                                            <p:attrNameLst>
                                              <p:attrName>style.visibility</p:attrName>
                                            </p:attrNameLst>
                                          </p:cBhvr>
                                          <p:to>
                                            <p:strVal val="visible"/>
                                          </p:to>
                                        </p:set>
                                        <p:anim calcmode="lin" valueType="num">
                                          <p:cBhvr additive="base">
                                            <p:cTn id="35" dur="2500" fill="hold"/>
                                            <p:tgtEl>
                                              <p:spTgt spid="41">
                                                <p:bg/>
                                              </p:spTgt>
                                            </p:tgtEl>
                                            <p:attrNameLst>
                                              <p:attrName>ppt_x</p:attrName>
                                            </p:attrNameLst>
                                          </p:cBhvr>
                                          <p:tavLst>
                                            <p:tav tm="0">
                                              <p:val>
                                                <p:strVal val="0-#ppt_w/2"/>
                                              </p:val>
                                            </p:tav>
                                            <p:tav tm="100000">
                                              <p:val>
                                                <p:strVal val="#ppt_x"/>
                                              </p:val>
                                            </p:tav>
                                          </p:tavLst>
                                        </p:anim>
                                        <p:anim calcmode="lin" valueType="num">
                                          <p:cBhvr additive="base">
                                            <p:cTn id="36" dur="2500" fill="hold"/>
                                            <p:tgtEl>
                                              <p:spTgt spid="41">
                                                <p:bg/>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41">
                                                <p:txEl>
                                                  <p:pRg st="0" end="0"/>
                                                </p:txEl>
                                              </p:spTgt>
                                            </p:tgtEl>
                                            <p:attrNameLst>
                                              <p:attrName>style.visibility</p:attrName>
                                            </p:attrNameLst>
                                          </p:cBhvr>
                                          <p:to>
                                            <p:strVal val="visible"/>
                                          </p:to>
                                        </p:set>
                                        <p:anim calcmode="lin" valueType="num">
                                          <p:cBhvr additive="base">
                                            <p:cTn id="39" dur="2500" fill="hold"/>
                                            <p:tgtEl>
                                              <p:spTgt spid="41">
                                                <p:txEl>
                                                  <p:pRg st="0" end="0"/>
                                                </p:txEl>
                                              </p:spTgt>
                                            </p:tgtEl>
                                            <p:attrNameLst>
                                              <p:attrName>ppt_x</p:attrName>
                                            </p:attrNameLst>
                                          </p:cBhvr>
                                          <p:tavLst>
                                            <p:tav tm="0">
                                              <p:val>
                                                <p:strVal val="0-#ppt_w/2"/>
                                              </p:val>
                                            </p:tav>
                                            <p:tav tm="100000">
                                              <p:val>
                                                <p:strVal val="#ppt_x"/>
                                              </p:val>
                                            </p:tav>
                                          </p:tavLst>
                                        </p:anim>
                                        <p:anim calcmode="lin" valueType="num">
                                          <p:cBhvr additive="base">
                                            <p:cTn id="40" dur="2500" fill="hold"/>
                                            <p:tgtEl>
                                              <p:spTgt spid="41">
                                                <p:txEl>
                                                  <p:pRg st="0" end="0"/>
                                                </p:tx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42">
                                                <p:bg/>
                                              </p:spTgt>
                                            </p:tgtEl>
                                            <p:attrNameLst>
                                              <p:attrName>style.visibility</p:attrName>
                                            </p:attrNameLst>
                                          </p:cBhvr>
                                          <p:to>
                                            <p:strVal val="visible"/>
                                          </p:to>
                                        </p:set>
                                        <p:anim calcmode="lin" valueType="num">
                                          <p:cBhvr additive="base">
                                            <p:cTn id="43" dur="2000" fill="hold"/>
                                            <p:tgtEl>
                                              <p:spTgt spid="42">
                                                <p:bg/>
                                              </p:spTgt>
                                            </p:tgtEl>
                                            <p:attrNameLst>
                                              <p:attrName>ppt_x</p:attrName>
                                            </p:attrNameLst>
                                          </p:cBhvr>
                                          <p:tavLst>
                                            <p:tav tm="0">
                                              <p:val>
                                                <p:strVal val="0-#ppt_w/2"/>
                                              </p:val>
                                            </p:tav>
                                            <p:tav tm="100000">
                                              <p:val>
                                                <p:strVal val="#ppt_x"/>
                                              </p:val>
                                            </p:tav>
                                          </p:tavLst>
                                        </p:anim>
                                        <p:anim calcmode="lin" valueType="num">
                                          <p:cBhvr additive="base">
                                            <p:cTn id="44" dur="2000" fill="hold"/>
                                            <p:tgtEl>
                                              <p:spTgt spid="42">
                                                <p:bg/>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42">
                                                <p:txEl>
                                                  <p:pRg st="0" end="0"/>
                                                </p:txEl>
                                              </p:spTgt>
                                            </p:tgtEl>
                                            <p:attrNameLst>
                                              <p:attrName>style.visibility</p:attrName>
                                            </p:attrNameLst>
                                          </p:cBhvr>
                                          <p:to>
                                            <p:strVal val="visible"/>
                                          </p:to>
                                        </p:set>
                                        <p:anim calcmode="lin" valueType="num">
                                          <p:cBhvr additive="base">
                                            <p:cTn id="47" dur="2000" fill="hold"/>
                                            <p:tgtEl>
                                              <p:spTgt spid="42">
                                                <p:txEl>
                                                  <p:pRg st="0" end="0"/>
                                                </p:txEl>
                                              </p:spTgt>
                                            </p:tgtEl>
                                            <p:attrNameLst>
                                              <p:attrName>ppt_x</p:attrName>
                                            </p:attrNameLst>
                                          </p:cBhvr>
                                          <p:tavLst>
                                            <p:tav tm="0">
                                              <p:val>
                                                <p:strVal val="0-#ppt_w/2"/>
                                              </p:val>
                                            </p:tav>
                                            <p:tav tm="100000">
                                              <p:val>
                                                <p:strVal val="#ppt_x"/>
                                              </p:val>
                                            </p:tav>
                                          </p:tavLst>
                                        </p:anim>
                                        <p:anim calcmode="lin" valueType="num">
                                          <p:cBhvr additive="base">
                                            <p:cTn id="48" dur="2000" fill="hold"/>
                                            <p:tgtEl>
                                              <p:spTgt spid="42">
                                                <p:txEl>
                                                  <p:pRg st="0" end="0"/>
                                                </p:txEl>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44">
                                                <p:bg/>
                                              </p:spTgt>
                                            </p:tgtEl>
                                            <p:attrNameLst>
                                              <p:attrName>style.visibility</p:attrName>
                                            </p:attrNameLst>
                                          </p:cBhvr>
                                          <p:to>
                                            <p:strVal val="visible"/>
                                          </p:to>
                                        </p:set>
                                        <p:anim calcmode="lin" valueType="num">
                                          <p:cBhvr additive="base">
                                            <p:cTn id="51" dur="2000" fill="hold"/>
                                            <p:tgtEl>
                                              <p:spTgt spid="44">
                                                <p:bg/>
                                              </p:spTgt>
                                            </p:tgtEl>
                                            <p:attrNameLst>
                                              <p:attrName>ppt_x</p:attrName>
                                            </p:attrNameLst>
                                          </p:cBhvr>
                                          <p:tavLst>
                                            <p:tav tm="0">
                                              <p:val>
                                                <p:strVal val="0-#ppt_w/2"/>
                                              </p:val>
                                            </p:tav>
                                            <p:tav tm="100000">
                                              <p:val>
                                                <p:strVal val="#ppt_x"/>
                                              </p:val>
                                            </p:tav>
                                          </p:tavLst>
                                        </p:anim>
                                        <p:anim calcmode="lin" valueType="num">
                                          <p:cBhvr additive="base">
                                            <p:cTn id="52" dur="2000" fill="hold"/>
                                            <p:tgtEl>
                                              <p:spTgt spid="44">
                                                <p:bg/>
                                              </p:spTgt>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44">
                                                <p:txEl>
                                                  <p:pRg st="0" end="0"/>
                                                </p:txEl>
                                              </p:spTgt>
                                            </p:tgtEl>
                                            <p:attrNameLst>
                                              <p:attrName>style.visibility</p:attrName>
                                            </p:attrNameLst>
                                          </p:cBhvr>
                                          <p:to>
                                            <p:strVal val="visible"/>
                                          </p:to>
                                        </p:set>
                                        <p:anim calcmode="lin" valueType="num">
                                          <p:cBhvr additive="base">
                                            <p:cTn id="55" dur="2000" fill="hold"/>
                                            <p:tgtEl>
                                              <p:spTgt spid="44">
                                                <p:txEl>
                                                  <p:pRg st="0" end="0"/>
                                                </p:txEl>
                                              </p:spTgt>
                                            </p:tgtEl>
                                            <p:attrNameLst>
                                              <p:attrName>ppt_x</p:attrName>
                                            </p:attrNameLst>
                                          </p:cBhvr>
                                          <p:tavLst>
                                            <p:tav tm="0">
                                              <p:val>
                                                <p:strVal val="0-#ppt_w/2"/>
                                              </p:val>
                                            </p:tav>
                                            <p:tav tm="100000">
                                              <p:val>
                                                <p:strVal val="#ppt_x"/>
                                              </p:val>
                                            </p:tav>
                                          </p:tavLst>
                                        </p:anim>
                                        <p:anim calcmode="lin" valueType="num">
                                          <p:cBhvr additive="base">
                                            <p:cTn id="56" dur="2000" fill="hold"/>
                                            <p:tgtEl>
                                              <p:spTgt spid="44">
                                                <p:txEl>
                                                  <p:pRg st="0" end="0"/>
                                                </p:txEl>
                                              </p:spTgt>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150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000" fill="hold"/>
                                            <p:tgtEl>
                                              <p:spTgt spid="27"/>
                                            </p:tgtEl>
                                            <p:attrNameLst>
                                              <p:attrName>ppt_x</p:attrName>
                                            </p:attrNameLst>
                                          </p:cBhvr>
                                          <p:tavLst>
                                            <p:tav tm="0">
                                              <p:val>
                                                <p:strVal val="1+#ppt_w/2"/>
                                              </p:val>
                                            </p:tav>
                                            <p:tav tm="100000">
                                              <p:val>
                                                <p:strVal val="#ppt_x"/>
                                              </p:val>
                                            </p:tav>
                                          </p:tavLst>
                                        </p:anim>
                                        <p:anim calcmode="lin" valueType="num">
                                          <p:cBhvr additive="base">
                                            <p:cTn id="60"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 grpId="0" build="p" animBg="1">
            <p:tmplLst>
              <p:tmpl>
                <p:tnLst>
                  <p:par>
                    <p:cTn presetID="2" presetClass="entr" presetSubtype="8" fill="hold" nodeType="with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2000" fill="hold"/>
                            <p:tgtEl>
                              <p:spTgt spid="5"/>
                            </p:tgtEl>
                            <p:attrNameLst>
                              <p:attrName>ppt_x</p:attrName>
                            </p:attrNameLst>
                          </p:cBhvr>
                          <p:tavLst>
                            <p:tav tm="0">
                              <p:val>
                                <p:strVal val="0-#ppt_w/2"/>
                              </p:val>
                            </p:tav>
                            <p:tav tm="100000">
                              <p:val>
                                <p:strVal val="#ppt_x"/>
                              </p:val>
                            </p:tav>
                          </p:tavLst>
                        </p:anim>
                        <p:anim calcmode="lin" valueType="num">
                          <p:cBhvr additive="base">
                            <p:cTn dur="2000" fill="hold"/>
                            <p:tgtEl>
                              <p:spTgt spid="5"/>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2000" fill="hold"/>
                            <p:tgtEl>
                              <p:spTgt spid="5"/>
                            </p:tgtEl>
                            <p:attrNameLst>
                              <p:attrName>ppt_x</p:attrName>
                            </p:attrNameLst>
                          </p:cBhvr>
                          <p:tavLst>
                            <p:tav tm="0">
                              <p:val>
                                <p:strVal val="0-#ppt_w/2"/>
                              </p:val>
                            </p:tav>
                            <p:tav tm="100000">
                              <p:val>
                                <p:strVal val="#ppt_x"/>
                              </p:val>
                            </p:tav>
                          </p:tavLst>
                        </p:anim>
                        <p:anim calcmode="lin" valueType="num">
                          <p:cBhvr additive="base">
                            <p:cTn dur="2000" fill="hold"/>
                            <p:tgtEl>
                              <p:spTgt spid="5"/>
                            </p:tgtEl>
                            <p:attrNameLst>
                              <p:attrName>ppt_y</p:attrName>
                            </p:attrNameLst>
                          </p:cBhvr>
                          <p:tavLst>
                            <p:tav tm="0">
                              <p:val>
                                <p:strVal val="#ppt_y"/>
                              </p:val>
                            </p:tav>
                            <p:tav tm="100000">
                              <p:val>
                                <p:strVal val="#ppt_y"/>
                              </p:val>
                            </p:tav>
                          </p:tavLst>
                        </p:anim>
                      </p:childTnLst>
                    </p:cTn>
                  </p:par>
                </p:tnLst>
              </p:tmpl>
            </p:tmplLst>
          </p:bldP>
          <p:bldP spid="39" grpId="0" build="p" animBg="1">
            <p:tmplLst>
              <p:tmpl>
                <p:tnLst>
                  <p:par>
                    <p:cTn presetID="2" presetClass="entr" presetSubtype="8" fill="hold" nodeType="withEffect">
                      <p:stCondLst>
                        <p:cond delay="0"/>
                      </p:stCondLst>
                      <p:childTnLst>
                        <p:set>
                          <p:cBhvr>
                            <p:cTn dur="1" fill="hold">
                              <p:stCondLst>
                                <p:cond delay="0"/>
                              </p:stCondLst>
                            </p:cTn>
                            <p:tgtEl>
                              <p:spTgt spid="39"/>
                            </p:tgtEl>
                            <p:attrNameLst>
                              <p:attrName>style.visibility</p:attrName>
                            </p:attrNameLst>
                          </p:cBhvr>
                          <p:to>
                            <p:strVal val="visible"/>
                          </p:to>
                        </p:set>
                        <p:anim calcmode="lin" valueType="num">
                          <p:cBhvr additive="base">
                            <p:cTn dur="2500" fill="hold"/>
                            <p:tgtEl>
                              <p:spTgt spid="39"/>
                            </p:tgtEl>
                            <p:attrNameLst>
                              <p:attrName>ppt_x</p:attrName>
                            </p:attrNameLst>
                          </p:cBhvr>
                          <p:tavLst>
                            <p:tav tm="0">
                              <p:val>
                                <p:strVal val="0-#ppt_w/2"/>
                              </p:val>
                            </p:tav>
                            <p:tav tm="100000">
                              <p:val>
                                <p:strVal val="#ppt_x"/>
                              </p:val>
                            </p:tav>
                          </p:tavLst>
                        </p:anim>
                        <p:anim calcmode="lin" valueType="num">
                          <p:cBhvr additive="base">
                            <p:cTn dur="2500" fill="hold"/>
                            <p:tgtEl>
                              <p:spTgt spid="3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9"/>
                            </p:tgtEl>
                            <p:attrNameLst>
                              <p:attrName>style.visibility</p:attrName>
                            </p:attrNameLst>
                          </p:cBhvr>
                          <p:to>
                            <p:strVal val="visible"/>
                          </p:to>
                        </p:set>
                        <p:anim calcmode="lin" valueType="num">
                          <p:cBhvr additive="base">
                            <p:cTn dur="2500" fill="hold"/>
                            <p:tgtEl>
                              <p:spTgt spid="39"/>
                            </p:tgtEl>
                            <p:attrNameLst>
                              <p:attrName>ppt_x</p:attrName>
                            </p:attrNameLst>
                          </p:cBhvr>
                          <p:tavLst>
                            <p:tav tm="0">
                              <p:val>
                                <p:strVal val="0-#ppt_w/2"/>
                              </p:val>
                            </p:tav>
                            <p:tav tm="100000">
                              <p:val>
                                <p:strVal val="#ppt_x"/>
                              </p:val>
                            </p:tav>
                          </p:tavLst>
                        </p:anim>
                        <p:anim calcmode="lin" valueType="num">
                          <p:cBhvr additive="base">
                            <p:cTn dur="2500" fill="hold"/>
                            <p:tgtEl>
                              <p:spTgt spid="39"/>
                            </p:tgtEl>
                            <p:attrNameLst>
                              <p:attrName>ppt_y</p:attrName>
                            </p:attrNameLst>
                          </p:cBhvr>
                          <p:tavLst>
                            <p:tav tm="0">
                              <p:val>
                                <p:strVal val="#ppt_y"/>
                              </p:val>
                            </p:tav>
                            <p:tav tm="100000">
                              <p:val>
                                <p:strVal val="#ppt_y"/>
                              </p:val>
                            </p:tav>
                          </p:tavLst>
                        </p:anim>
                      </p:childTnLst>
                    </p:cTn>
                  </p:par>
                </p:tnLst>
              </p:tmpl>
            </p:tmplLst>
          </p:bldP>
          <p:bldP spid="40" grpId="0" build="p" animBg="1">
            <p:tmplLst>
              <p:tmpl>
                <p:tnLst>
                  <p:par>
                    <p:cTn presetID="2" presetClass="entr" presetSubtype="8" fill="hold" nodeType="withEffect">
                      <p:stCondLst>
                        <p:cond delay="0"/>
                      </p:stCondLst>
                      <p:childTnLst>
                        <p:set>
                          <p:cBhvr>
                            <p:cTn dur="1" fill="hold">
                              <p:stCondLst>
                                <p:cond delay="0"/>
                              </p:stCondLst>
                            </p:cTn>
                            <p:tgtEl>
                              <p:spTgt spid="40"/>
                            </p:tgtEl>
                            <p:attrNameLst>
                              <p:attrName>style.visibility</p:attrName>
                            </p:attrNameLst>
                          </p:cBhvr>
                          <p:to>
                            <p:strVal val="visible"/>
                          </p:to>
                        </p:set>
                        <p:anim calcmode="lin" valueType="num">
                          <p:cBhvr additive="base">
                            <p:cTn dur="2000" fill="hold"/>
                            <p:tgtEl>
                              <p:spTgt spid="40"/>
                            </p:tgtEl>
                            <p:attrNameLst>
                              <p:attrName>ppt_x</p:attrName>
                            </p:attrNameLst>
                          </p:cBhvr>
                          <p:tavLst>
                            <p:tav tm="0">
                              <p:val>
                                <p:strVal val="0-#ppt_w/2"/>
                              </p:val>
                            </p:tav>
                            <p:tav tm="100000">
                              <p:val>
                                <p:strVal val="#ppt_x"/>
                              </p:val>
                            </p:tav>
                          </p:tavLst>
                        </p:anim>
                        <p:anim calcmode="lin" valueType="num">
                          <p:cBhvr additive="base">
                            <p:cTn dur="2000" fill="hold"/>
                            <p:tgtEl>
                              <p:spTgt spid="40"/>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40"/>
                            </p:tgtEl>
                            <p:attrNameLst>
                              <p:attrName>style.visibility</p:attrName>
                            </p:attrNameLst>
                          </p:cBhvr>
                          <p:to>
                            <p:strVal val="visible"/>
                          </p:to>
                        </p:set>
                        <p:anim calcmode="lin" valueType="num">
                          <p:cBhvr additive="base">
                            <p:cTn dur="2000" fill="hold"/>
                            <p:tgtEl>
                              <p:spTgt spid="40"/>
                            </p:tgtEl>
                            <p:attrNameLst>
                              <p:attrName>ppt_x</p:attrName>
                            </p:attrNameLst>
                          </p:cBhvr>
                          <p:tavLst>
                            <p:tav tm="0">
                              <p:val>
                                <p:strVal val="0-#ppt_w/2"/>
                              </p:val>
                            </p:tav>
                            <p:tav tm="100000">
                              <p:val>
                                <p:strVal val="#ppt_x"/>
                              </p:val>
                            </p:tav>
                          </p:tavLst>
                        </p:anim>
                        <p:anim calcmode="lin" valueType="num">
                          <p:cBhvr additive="base">
                            <p:cTn dur="2000" fill="hold"/>
                            <p:tgtEl>
                              <p:spTgt spid="40"/>
                            </p:tgtEl>
                            <p:attrNameLst>
                              <p:attrName>ppt_y</p:attrName>
                            </p:attrNameLst>
                          </p:cBhvr>
                          <p:tavLst>
                            <p:tav tm="0">
                              <p:val>
                                <p:strVal val="#ppt_y"/>
                              </p:val>
                            </p:tav>
                            <p:tav tm="100000">
                              <p:val>
                                <p:strVal val="#ppt_y"/>
                              </p:val>
                            </p:tav>
                          </p:tavLst>
                        </p:anim>
                      </p:childTnLst>
                    </p:cTn>
                  </p:par>
                </p:tnLst>
              </p:tmpl>
            </p:tmplLst>
          </p:bldP>
          <p:bldP spid="41" grpId="0" build="p" animBg="1">
            <p:tmplLst>
              <p:tmpl>
                <p:tnLst>
                  <p:par>
                    <p:cTn presetID="2" presetClass="entr" presetSubtype="8" fill="hold" nodeType="withEffect">
                      <p:stCondLst>
                        <p:cond delay="0"/>
                      </p:stCondLst>
                      <p:childTnLst>
                        <p:set>
                          <p:cBhvr>
                            <p:cTn dur="1" fill="hold">
                              <p:stCondLst>
                                <p:cond delay="0"/>
                              </p:stCondLst>
                            </p:cTn>
                            <p:tgtEl>
                              <p:spTgt spid="41"/>
                            </p:tgtEl>
                            <p:attrNameLst>
                              <p:attrName>style.visibility</p:attrName>
                            </p:attrNameLst>
                          </p:cBhvr>
                          <p:to>
                            <p:strVal val="visible"/>
                          </p:to>
                        </p:set>
                        <p:anim calcmode="lin" valueType="num">
                          <p:cBhvr additive="base">
                            <p:cTn dur="2500" fill="hold"/>
                            <p:tgtEl>
                              <p:spTgt spid="41"/>
                            </p:tgtEl>
                            <p:attrNameLst>
                              <p:attrName>ppt_x</p:attrName>
                            </p:attrNameLst>
                          </p:cBhvr>
                          <p:tavLst>
                            <p:tav tm="0">
                              <p:val>
                                <p:strVal val="0-#ppt_w/2"/>
                              </p:val>
                            </p:tav>
                            <p:tav tm="100000">
                              <p:val>
                                <p:strVal val="#ppt_x"/>
                              </p:val>
                            </p:tav>
                          </p:tavLst>
                        </p:anim>
                        <p:anim calcmode="lin" valueType="num">
                          <p:cBhvr additive="base">
                            <p:cTn dur="2500" fill="hold"/>
                            <p:tgtEl>
                              <p:spTgt spid="41"/>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41"/>
                            </p:tgtEl>
                            <p:attrNameLst>
                              <p:attrName>style.visibility</p:attrName>
                            </p:attrNameLst>
                          </p:cBhvr>
                          <p:to>
                            <p:strVal val="visible"/>
                          </p:to>
                        </p:set>
                        <p:anim calcmode="lin" valueType="num">
                          <p:cBhvr additive="base">
                            <p:cTn dur="2500" fill="hold"/>
                            <p:tgtEl>
                              <p:spTgt spid="41"/>
                            </p:tgtEl>
                            <p:attrNameLst>
                              <p:attrName>ppt_x</p:attrName>
                            </p:attrNameLst>
                          </p:cBhvr>
                          <p:tavLst>
                            <p:tav tm="0">
                              <p:val>
                                <p:strVal val="0-#ppt_w/2"/>
                              </p:val>
                            </p:tav>
                            <p:tav tm="100000">
                              <p:val>
                                <p:strVal val="#ppt_x"/>
                              </p:val>
                            </p:tav>
                          </p:tavLst>
                        </p:anim>
                        <p:anim calcmode="lin" valueType="num">
                          <p:cBhvr additive="base">
                            <p:cTn dur="2500" fill="hold"/>
                            <p:tgtEl>
                              <p:spTgt spid="41"/>
                            </p:tgtEl>
                            <p:attrNameLst>
                              <p:attrName>ppt_y</p:attrName>
                            </p:attrNameLst>
                          </p:cBhvr>
                          <p:tavLst>
                            <p:tav tm="0">
                              <p:val>
                                <p:strVal val="#ppt_y"/>
                              </p:val>
                            </p:tav>
                            <p:tav tm="100000">
                              <p:val>
                                <p:strVal val="#ppt_y"/>
                              </p:val>
                            </p:tav>
                          </p:tavLst>
                        </p:anim>
                      </p:childTnLst>
                    </p:cTn>
                  </p:par>
                </p:tnLst>
              </p:tmpl>
            </p:tmplLst>
          </p:bldP>
          <p:bldP spid="42" grpId="0" build="p" animBg="1">
            <p:tmplLst>
              <p:tmpl>
                <p:tnLst>
                  <p:par>
                    <p:cTn presetID="2" presetClass="entr" presetSubtype="8" fill="hold" nodeType="withEffect">
                      <p:stCondLst>
                        <p:cond delay="0"/>
                      </p:stCondLst>
                      <p:childTnLst>
                        <p:set>
                          <p:cBhvr>
                            <p:cTn dur="1" fill="hold">
                              <p:stCondLst>
                                <p:cond delay="0"/>
                              </p:stCondLst>
                            </p:cTn>
                            <p:tgtEl>
                              <p:spTgt spid="42"/>
                            </p:tgtEl>
                            <p:attrNameLst>
                              <p:attrName>style.visibility</p:attrName>
                            </p:attrNameLst>
                          </p:cBhvr>
                          <p:to>
                            <p:strVal val="visible"/>
                          </p:to>
                        </p:set>
                        <p:anim calcmode="lin" valueType="num">
                          <p:cBhvr additive="base">
                            <p:cTn dur="2000" fill="hold"/>
                            <p:tgtEl>
                              <p:spTgt spid="42"/>
                            </p:tgtEl>
                            <p:attrNameLst>
                              <p:attrName>ppt_x</p:attrName>
                            </p:attrNameLst>
                          </p:cBhvr>
                          <p:tavLst>
                            <p:tav tm="0">
                              <p:val>
                                <p:strVal val="0-#ppt_w/2"/>
                              </p:val>
                            </p:tav>
                            <p:tav tm="100000">
                              <p:val>
                                <p:strVal val="#ppt_x"/>
                              </p:val>
                            </p:tav>
                          </p:tavLst>
                        </p:anim>
                        <p:anim calcmode="lin" valueType="num">
                          <p:cBhvr additive="base">
                            <p:cTn dur="2000" fill="hold"/>
                            <p:tgtEl>
                              <p:spTgt spid="42"/>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42"/>
                            </p:tgtEl>
                            <p:attrNameLst>
                              <p:attrName>style.visibility</p:attrName>
                            </p:attrNameLst>
                          </p:cBhvr>
                          <p:to>
                            <p:strVal val="visible"/>
                          </p:to>
                        </p:set>
                        <p:anim calcmode="lin" valueType="num">
                          <p:cBhvr additive="base">
                            <p:cTn dur="2000" fill="hold"/>
                            <p:tgtEl>
                              <p:spTgt spid="42"/>
                            </p:tgtEl>
                            <p:attrNameLst>
                              <p:attrName>ppt_x</p:attrName>
                            </p:attrNameLst>
                          </p:cBhvr>
                          <p:tavLst>
                            <p:tav tm="0">
                              <p:val>
                                <p:strVal val="0-#ppt_w/2"/>
                              </p:val>
                            </p:tav>
                            <p:tav tm="100000">
                              <p:val>
                                <p:strVal val="#ppt_x"/>
                              </p:val>
                            </p:tav>
                          </p:tavLst>
                        </p:anim>
                        <p:anim calcmode="lin" valueType="num">
                          <p:cBhvr additive="base">
                            <p:cTn dur="2000" fill="hold"/>
                            <p:tgtEl>
                              <p:spTgt spid="42"/>
                            </p:tgtEl>
                            <p:attrNameLst>
                              <p:attrName>ppt_y</p:attrName>
                            </p:attrNameLst>
                          </p:cBhvr>
                          <p:tavLst>
                            <p:tav tm="0">
                              <p:val>
                                <p:strVal val="#ppt_y"/>
                              </p:val>
                            </p:tav>
                            <p:tav tm="100000">
                              <p:val>
                                <p:strVal val="#ppt_y"/>
                              </p:val>
                            </p:tav>
                          </p:tavLst>
                        </p:anim>
                      </p:childTnLst>
                    </p:cTn>
                  </p:par>
                </p:tnLst>
              </p:tmpl>
            </p:tmplLst>
          </p:bldP>
          <p:bldP spid="44" grpId="0" build="p" animBg="1">
            <p:tmplLst>
              <p:tmpl>
                <p:tnLst>
                  <p:par>
                    <p:cTn presetID="2" presetClass="entr" presetSubtype="8" fill="hold" nodeType="withEffect">
                      <p:stCondLst>
                        <p:cond delay="0"/>
                      </p:stCondLst>
                      <p:childTnLst>
                        <p:set>
                          <p:cBhvr>
                            <p:cTn dur="1" fill="hold">
                              <p:stCondLst>
                                <p:cond delay="0"/>
                              </p:stCondLst>
                            </p:cTn>
                            <p:tgtEl>
                              <p:spTgt spid="44"/>
                            </p:tgtEl>
                            <p:attrNameLst>
                              <p:attrName>style.visibility</p:attrName>
                            </p:attrNameLst>
                          </p:cBhvr>
                          <p:to>
                            <p:strVal val="visible"/>
                          </p:to>
                        </p:set>
                        <p:anim calcmode="lin" valueType="num">
                          <p:cBhvr additive="base">
                            <p:cTn dur="2000" fill="hold"/>
                            <p:tgtEl>
                              <p:spTgt spid="44"/>
                            </p:tgtEl>
                            <p:attrNameLst>
                              <p:attrName>ppt_x</p:attrName>
                            </p:attrNameLst>
                          </p:cBhvr>
                          <p:tavLst>
                            <p:tav tm="0">
                              <p:val>
                                <p:strVal val="0-#ppt_w/2"/>
                              </p:val>
                            </p:tav>
                            <p:tav tm="100000">
                              <p:val>
                                <p:strVal val="#ppt_x"/>
                              </p:val>
                            </p:tav>
                          </p:tavLst>
                        </p:anim>
                        <p:anim calcmode="lin" valueType="num">
                          <p:cBhvr additive="base">
                            <p:cTn dur="2000" fill="hold"/>
                            <p:tgtEl>
                              <p:spTgt spid="4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44"/>
                            </p:tgtEl>
                            <p:attrNameLst>
                              <p:attrName>style.visibility</p:attrName>
                            </p:attrNameLst>
                          </p:cBhvr>
                          <p:to>
                            <p:strVal val="visible"/>
                          </p:to>
                        </p:set>
                        <p:anim calcmode="lin" valueType="num">
                          <p:cBhvr additive="base">
                            <p:cTn dur="2000" fill="hold"/>
                            <p:tgtEl>
                              <p:spTgt spid="44"/>
                            </p:tgtEl>
                            <p:attrNameLst>
                              <p:attrName>ppt_x</p:attrName>
                            </p:attrNameLst>
                          </p:cBhvr>
                          <p:tavLst>
                            <p:tav tm="0">
                              <p:val>
                                <p:strVal val="0-#ppt_w/2"/>
                              </p:val>
                            </p:tav>
                            <p:tav tm="100000">
                              <p:val>
                                <p:strVal val="#ppt_x"/>
                              </p:val>
                            </p:tav>
                          </p:tavLst>
                        </p:anim>
                        <p:anim calcmode="lin" valueType="num">
                          <p:cBhvr additive="base">
                            <p:cTn dur="2000" fill="hold"/>
                            <p:tgtEl>
                              <p:spTgt spid="44"/>
                            </p:tgtEl>
                            <p:attrNameLst>
                              <p:attrName>ppt_y</p:attrName>
                            </p:attrNameLst>
                          </p:cBhvr>
                          <p:tavLst>
                            <p:tav tm="0">
                              <p:val>
                                <p:strVal val="#ppt_y"/>
                              </p:val>
                            </p:tav>
                            <p:tav tm="100000">
                              <p:val>
                                <p:strVal val="#ppt_y"/>
                              </p:val>
                            </p:tav>
                          </p:tavLst>
                        </p:anim>
                      </p:childTnLst>
                    </p:cTn>
                  </p:par>
                </p:tnLst>
              </p:tmpl>
            </p:tmplLst>
          </p:bldP>
          <p:bldP spid="35" grpId="0" animBg="1"/>
        </p:bldLst>
      </p:timing>
    </mc:Fallback>
  </mc:AlternateContent>
  <p:extLst>
    <p:ext uri="{DCECCB84-F9BA-43D5-87BE-67443E8EF086}">
      <p15:sldGuideLst xmlns:p15="http://schemas.microsoft.com/office/powerpoint/2012/main">
        <p15:guide id="1" pos="5201" userDrawn="1">
          <p15:clr>
            <a:srgbClr val="FBAE40"/>
          </p15:clr>
        </p15:guide>
        <p15:guide id="2" pos="4656" userDrawn="1">
          <p15:clr>
            <a:srgbClr val="FBAE40"/>
          </p15:clr>
        </p15:guide>
        <p15:guide id="3" pos="356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xtreme title without picture">
    <p:bg>
      <p:bgPr>
        <a:solidFill>
          <a:schemeClr val="accent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7271BF-E425-4962-BFFD-363A0B4BC1CC}"/>
              </a:ext>
            </a:extLst>
          </p:cNvPr>
          <p:cNvSpPr>
            <a:spLocks noGrp="1"/>
          </p:cNvSpPr>
          <p:nvPr userDrawn="1">
            <p:ph type="ctrTitle" hasCustomPrompt="1"/>
          </p:nvPr>
        </p:nvSpPr>
        <p:spPr bwMode="gray">
          <a:xfrm>
            <a:off x="407988" y="1628774"/>
            <a:ext cx="11376000" cy="2376000"/>
          </a:xfrm>
        </p:spPr>
        <p:txBody>
          <a:bodyPr anchor="b"/>
          <a:lstStyle>
            <a:lvl1pPr algn="l">
              <a:lnSpc>
                <a:spcPct val="100000"/>
              </a:lnSpc>
              <a:defRPr sz="4800">
                <a:solidFill>
                  <a:schemeClr val="accent1"/>
                </a:solidFill>
              </a:defRPr>
            </a:lvl1pPr>
          </a:lstStyle>
          <a:p>
            <a:r>
              <a:rPr lang="en-US" noProof="0"/>
              <a:t>Max. triple-spaced title</a:t>
            </a:r>
          </a:p>
        </p:txBody>
      </p:sp>
      <p:pic>
        <p:nvPicPr>
          <p:cNvPr id="60" name="Grafik 59">
            <a:extLst>
              <a:ext uri="{FF2B5EF4-FFF2-40B4-BE49-F238E27FC236}">
                <a16:creationId xmlns:a16="http://schemas.microsoft.com/office/drawing/2014/main" id="{25BD3E8D-AF9B-4875-BC3E-0F994CD5FE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gray">
          <a:xfrm>
            <a:off x="407368" y="404664"/>
            <a:ext cx="2016000" cy="484994"/>
          </a:xfrm>
          <a:prstGeom prst="rect">
            <a:avLst/>
          </a:prstGeom>
        </p:spPr>
      </p:pic>
      <p:sp>
        <p:nvSpPr>
          <p:cNvPr id="6" name="Textplatzhalter 5">
            <a:extLst>
              <a:ext uri="{FF2B5EF4-FFF2-40B4-BE49-F238E27FC236}">
                <a16:creationId xmlns:a16="http://schemas.microsoft.com/office/drawing/2014/main" id="{3A78E4F1-0234-4BA0-976F-CF4E5895FF08}"/>
              </a:ext>
            </a:extLst>
          </p:cNvPr>
          <p:cNvSpPr>
            <a:spLocks noGrp="1"/>
          </p:cNvSpPr>
          <p:nvPr>
            <p:ph type="body" sz="quarter" idx="10" hasCustomPrompt="1"/>
          </p:nvPr>
        </p:nvSpPr>
        <p:spPr bwMode="gray">
          <a:xfrm>
            <a:off x="0" y="4221163"/>
            <a:ext cx="12192000" cy="2636837"/>
          </a:xfrm>
          <a:solidFill>
            <a:schemeClr val="accent1">
              <a:alpha val="20000"/>
            </a:schemeClr>
          </a:solidFill>
        </p:spPr>
        <p:txBody>
          <a:bodyPr/>
          <a:lstStyle>
            <a:lvl1pPr>
              <a:lnSpc>
                <a:spcPct val="100000"/>
              </a:lnSpc>
              <a:defRPr/>
            </a:lvl1pPr>
          </a:lstStyle>
          <a:p>
            <a:pPr lvl="0"/>
            <a:r>
              <a:rPr lang="en-US"/>
              <a:t> </a:t>
            </a:r>
          </a:p>
        </p:txBody>
      </p:sp>
      <p:sp>
        <p:nvSpPr>
          <p:cNvPr id="51" name="Textplatzhalter 50">
            <a:extLst>
              <a:ext uri="{FF2B5EF4-FFF2-40B4-BE49-F238E27FC236}">
                <a16:creationId xmlns:a16="http://schemas.microsoft.com/office/drawing/2014/main" id="{40498674-3E50-47A9-AFD9-25239E953269}"/>
              </a:ext>
            </a:extLst>
          </p:cNvPr>
          <p:cNvSpPr>
            <a:spLocks noGrp="1"/>
          </p:cNvSpPr>
          <p:nvPr>
            <p:ph type="body" sz="quarter" idx="11" hasCustomPrompt="1"/>
          </p:nvPr>
        </p:nvSpPr>
        <p:spPr bwMode="gray">
          <a:xfrm flipH="1">
            <a:off x="0" y="4221163"/>
            <a:ext cx="12192000" cy="2636837"/>
          </a:xfrm>
          <a:custGeom>
            <a:avLst/>
            <a:gdLst>
              <a:gd name="connsiteX0" fmla="*/ 0 w 12192000"/>
              <a:gd name="connsiteY0" fmla="*/ 0 h 2636837"/>
              <a:gd name="connsiteX1" fmla="*/ 11864200 w 12192000"/>
              <a:gd name="connsiteY1" fmla="*/ 0 h 2636837"/>
              <a:gd name="connsiteX2" fmla="*/ 12192000 w 12192000"/>
              <a:gd name="connsiteY2" fmla="*/ 408191 h 2636837"/>
              <a:gd name="connsiteX3" fmla="*/ 12192000 w 12192000"/>
              <a:gd name="connsiteY3" fmla="*/ 2636837 h 2636837"/>
              <a:gd name="connsiteX4" fmla="*/ 0 w 12192000"/>
              <a:gd name="connsiteY4" fmla="*/ 2636837 h 2636837"/>
              <a:gd name="connsiteX0" fmla="*/ 0 w 12192000"/>
              <a:gd name="connsiteY0" fmla="*/ 0 h 2636837"/>
              <a:gd name="connsiteX1" fmla="*/ 12192000 w 12192000"/>
              <a:gd name="connsiteY1" fmla="*/ 408191 h 2636837"/>
              <a:gd name="connsiteX2" fmla="*/ 12192000 w 12192000"/>
              <a:gd name="connsiteY2" fmla="*/ 2636837 h 2636837"/>
              <a:gd name="connsiteX3" fmla="*/ 0 w 12192000"/>
              <a:gd name="connsiteY3" fmla="*/ 2636837 h 2636837"/>
              <a:gd name="connsiteX4" fmla="*/ 0 w 12192000"/>
              <a:gd name="connsiteY4" fmla="*/ 0 h 2636837"/>
              <a:gd name="connsiteX0" fmla="*/ 0 w 12192000"/>
              <a:gd name="connsiteY0" fmla="*/ 0 h 2636837"/>
              <a:gd name="connsiteX1" fmla="*/ 12186024 w 12192000"/>
              <a:gd name="connsiteY1" fmla="*/ 862402 h 2636837"/>
              <a:gd name="connsiteX2" fmla="*/ 12192000 w 12192000"/>
              <a:gd name="connsiteY2" fmla="*/ 2636837 h 2636837"/>
              <a:gd name="connsiteX3" fmla="*/ 0 w 12192000"/>
              <a:gd name="connsiteY3" fmla="*/ 2636837 h 2636837"/>
              <a:gd name="connsiteX4" fmla="*/ 0 w 12192000"/>
              <a:gd name="connsiteY4" fmla="*/ 0 h 263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636837">
                <a:moveTo>
                  <a:pt x="0" y="0"/>
                </a:moveTo>
                <a:lnTo>
                  <a:pt x="12186024" y="862402"/>
                </a:lnTo>
                <a:lnTo>
                  <a:pt x="12192000" y="2636837"/>
                </a:lnTo>
                <a:lnTo>
                  <a:pt x="0" y="2636837"/>
                </a:lnTo>
                <a:lnTo>
                  <a:pt x="0" y="0"/>
                </a:lnTo>
                <a:close/>
              </a:path>
            </a:pathLst>
          </a:custGeom>
          <a:solidFill>
            <a:schemeClr val="accent1">
              <a:alpha val="40000"/>
            </a:schemeClr>
          </a:solidFill>
        </p:spPr>
        <p:txBody>
          <a:bodyPr wrap="square">
            <a:noAutofit/>
          </a:bodyPr>
          <a:lstStyle>
            <a:lvl1pPr>
              <a:lnSpc>
                <a:spcPct val="100000"/>
              </a:lnSpc>
              <a:defRPr/>
            </a:lvl1pPr>
          </a:lstStyle>
          <a:p>
            <a:pPr lvl="0"/>
            <a:r>
              <a:rPr lang="en-US"/>
              <a:t> </a:t>
            </a:r>
          </a:p>
        </p:txBody>
      </p:sp>
      <p:sp>
        <p:nvSpPr>
          <p:cNvPr id="52" name="Textplatzhalter 5">
            <a:extLst>
              <a:ext uri="{FF2B5EF4-FFF2-40B4-BE49-F238E27FC236}">
                <a16:creationId xmlns:a16="http://schemas.microsoft.com/office/drawing/2014/main" id="{A7C521A6-B884-4D51-8048-DA6AEDD5F92B}"/>
              </a:ext>
            </a:extLst>
          </p:cNvPr>
          <p:cNvSpPr>
            <a:spLocks noGrp="1"/>
          </p:cNvSpPr>
          <p:nvPr>
            <p:ph type="body" sz="quarter" idx="12" hasCustomPrompt="1"/>
          </p:nvPr>
        </p:nvSpPr>
        <p:spPr bwMode="gray">
          <a:xfrm>
            <a:off x="0" y="5085184"/>
            <a:ext cx="12192000" cy="1772816"/>
          </a:xfrm>
          <a:solidFill>
            <a:schemeClr val="accent1">
              <a:alpha val="60000"/>
            </a:schemeClr>
          </a:solidFill>
        </p:spPr>
        <p:txBody>
          <a:bodyPr/>
          <a:lstStyle>
            <a:lvl1pPr>
              <a:lnSpc>
                <a:spcPct val="100000"/>
              </a:lnSpc>
              <a:defRPr/>
            </a:lvl1pPr>
          </a:lstStyle>
          <a:p>
            <a:pPr lvl="0"/>
            <a:r>
              <a:rPr lang="en-US"/>
              <a:t> </a:t>
            </a:r>
          </a:p>
        </p:txBody>
      </p:sp>
      <p:sp>
        <p:nvSpPr>
          <p:cNvPr id="53" name="Textplatzhalter 52">
            <a:extLst>
              <a:ext uri="{FF2B5EF4-FFF2-40B4-BE49-F238E27FC236}">
                <a16:creationId xmlns:a16="http://schemas.microsoft.com/office/drawing/2014/main" id="{C6EE7C3C-178E-426C-B904-486E06346DB8}"/>
              </a:ext>
            </a:extLst>
          </p:cNvPr>
          <p:cNvSpPr>
            <a:spLocks noGrp="1"/>
          </p:cNvSpPr>
          <p:nvPr>
            <p:ph type="body" sz="quarter" idx="13" hasCustomPrompt="1"/>
          </p:nvPr>
        </p:nvSpPr>
        <p:spPr bwMode="gray">
          <a:xfrm flipH="1">
            <a:off x="0" y="5085184"/>
            <a:ext cx="12192000" cy="1772816"/>
          </a:xfrm>
          <a:custGeom>
            <a:avLst/>
            <a:gdLst>
              <a:gd name="connsiteX0" fmla="*/ 0 w 12192000"/>
              <a:gd name="connsiteY0" fmla="*/ 0 h 2636837"/>
              <a:gd name="connsiteX1" fmla="*/ 11864200 w 12192000"/>
              <a:gd name="connsiteY1" fmla="*/ 0 h 2636837"/>
              <a:gd name="connsiteX2" fmla="*/ 12192000 w 12192000"/>
              <a:gd name="connsiteY2" fmla="*/ 408191 h 2636837"/>
              <a:gd name="connsiteX3" fmla="*/ 12192000 w 12192000"/>
              <a:gd name="connsiteY3" fmla="*/ 2636837 h 2636837"/>
              <a:gd name="connsiteX4" fmla="*/ 0 w 12192000"/>
              <a:gd name="connsiteY4" fmla="*/ 2636837 h 2636837"/>
              <a:gd name="connsiteX0" fmla="*/ 0 w 12192000"/>
              <a:gd name="connsiteY0" fmla="*/ 0 h 2636837"/>
              <a:gd name="connsiteX1" fmla="*/ 12192000 w 12192000"/>
              <a:gd name="connsiteY1" fmla="*/ 408191 h 2636837"/>
              <a:gd name="connsiteX2" fmla="*/ 12192000 w 12192000"/>
              <a:gd name="connsiteY2" fmla="*/ 2636837 h 2636837"/>
              <a:gd name="connsiteX3" fmla="*/ 0 w 12192000"/>
              <a:gd name="connsiteY3" fmla="*/ 2636837 h 2636837"/>
              <a:gd name="connsiteX4" fmla="*/ 0 w 12192000"/>
              <a:gd name="connsiteY4" fmla="*/ 0 h 2636837"/>
              <a:gd name="connsiteX0" fmla="*/ 0 w 12192000"/>
              <a:gd name="connsiteY0" fmla="*/ 0 h 2636837"/>
              <a:gd name="connsiteX1" fmla="*/ 12186024 w 12192000"/>
              <a:gd name="connsiteY1" fmla="*/ 862402 h 2636837"/>
              <a:gd name="connsiteX2" fmla="*/ 12192000 w 12192000"/>
              <a:gd name="connsiteY2" fmla="*/ 2636837 h 2636837"/>
              <a:gd name="connsiteX3" fmla="*/ 0 w 12192000"/>
              <a:gd name="connsiteY3" fmla="*/ 2636837 h 2636837"/>
              <a:gd name="connsiteX4" fmla="*/ 0 w 12192000"/>
              <a:gd name="connsiteY4" fmla="*/ 0 h 2636837"/>
              <a:gd name="connsiteX0" fmla="*/ 0 w 12192000"/>
              <a:gd name="connsiteY0" fmla="*/ 0 h 2636837"/>
              <a:gd name="connsiteX1" fmla="*/ 12192000 w 12192000"/>
              <a:gd name="connsiteY1" fmla="*/ 2636837 h 2636837"/>
              <a:gd name="connsiteX2" fmla="*/ 0 w 12192000"/>
              <a:gd name="connsiteY2" fmla="*/ 2636837 h 2636837"/>
              <a:gd name="connsiteX3" fmla="*/ 0 w 12192000"/>
              <a:gd name="connsiteY3" fmla="*/ 0 h 2636837"/>
            </a:gdLst>
            <a:ahLst/>
            <a:cxnLst>
              <a:cxn ang="0">
                <a:pos x="connsiteX0" y="connsiteY0"/>
              </a:cxn>
              <a:cxn ang="0">
                <a:pos x="connsiteX1" y="connsiteY1"/>
              </a:cxn>
              <a:cxn ang="0">
                <a:pos x="connsiteX2" y="connsiteY2"/>
              </a:cxn>
              <a:cxn ang="0">
                <a:pos x="connsiteX3" y="connsiteY3"/>
              </a:cxn>
            </a:cxnLst>
            <a:rect l="l" t="t" r="r" b="b"/>
            <a:pathLst>
              <a:path w="12192000" h="2636837">
                <a:moveTo>
                  <a:pt x="0" y="0"/>
                </a:moveTo>
                <a:lnTo>
                  <a:pt x="12192000" y="2636837"/>
                </a:lnTo>
                <a:lnTo>
                  <a:pt x="0" y="2636837"/>
                </a:lnTo>
                <a:lnTo>
                  <a:pt x="0" y="0"/>
                </a:lnTo>
                <a:close/>
              </a:path>
            </a:pathLst>
          </a:custGeom>
          <a:solidFill>
            <a:schemeClr val="accent1">
              <a:alpha val="80000"/>
            </a:schemeClr>
          </a:solidFill>
        </p:spPr>
        <p:txBody>
          <a:bodyPr wrap="square">
            <a:noAutofit/>
          </a:bodyPr>
          <a:lstStyle>
            <a:lvl1pPr>
              <a:lnSpc>
                <a:spcPct val="100000"/>
              </a:lnSpc>
              <a:defRPr/>
            </a:lvl1pPr>
          </a:lstStyle>
          <a:p>
            <a:pPr lvl="0"/>
            <a:r>
              <a:rPr lang="en-US"/>
              <a:t> </a:t>
            </a:r>
          </a:p>
        </p:txBody>
      </p:sp>
      <p:pic>
        <p:nvPicPr>
          <p:cNvPr id="26" name="Grafik 25">
            <a:extLst>
              <a:ext uri="{FF2B5EF4-FFF2-40B4-BE49-F238E27FC236}">
                <a16:creationId xmlns:a16="http://schemas.microsoft.com/office/drawing/2014/main" id="{17D68BEE-0106-4A39-B6C4-C174E69FD202}"/>
              </a:ext>
            </a:extLst>
          </p:cNvPr>
          <p:cNvPicPr>
            <a:picLocks noChangeAspect="1"/>
          </p:cNvPicPr>
          <p:nvPr userDrawn="1"/>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433316" y="626256"/>
            <a:ext cx="1352308" cy="180000"/>
          </a:xfrm>
          <a:prstGeom prst="rect">
            <a:avLst/>
          </a:prstGeom>
        </p:spPr>
      </p:pic>
    </p:spTree>
    <p:extLst>
      <p:ext uri="{BB962C8B-B14F-4D97-AF65-F5344CB8AC3E}">
        <p14:creationId xmlns:p14="http://schemas.microsoft.com/office/powerpoint/2010/main" val="31790436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45000">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14:bounceEnd="45000">
                                          <p:cBhvr additive="base">
                                            <p:cTn id="7" dur="2000" fill="hold"/>
                                            <p:tgtEl>
                                              <p:spTgt spid="6">
                                                <p:bg/>
                                              </p:spTgt>
                                            </p:tgtEl>
                                            <p:attrNameLst>
                                              <p:attrName>ppt_x</p:attrName>
                                            </p:attrNameLst>
                                          </p:cBhvr>
                                          <p:tavLst>
                                            <p:tav tm="0">
                                              <p:val>
                                                <p:strVal val="#ppt_x"/>
                                              </p:val>
                                            </p:tav>
                                            <p:tav tm="100000">
                                              <p:val>
                                                <p:strVal val="#ppt_x"/>
                                              </p:val>
                                            </p:tav>
                                          </p:tavLst>
                                        </p:anim>
                                        <p:anim calcmode="lin" valueType="num" p14:bounceEnd="45000">
                                          <p:cBhvr additive="base">
                                            <p:cTn id="8" dur="2000" fill="hold"/>
                                            <p:tgtEl>
                                              <p:spTgt spid="6">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45000">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 calcmode="lin" valueType="num" p14:bounceEnd="45000">
                                          <p:cBhvr additive="base">
                                            <p:cTn id="11" dur="2000" fill="hold"/>
                                            <p:tgtEl>
                                              <p:spTgt spid="6">
                                                <p:txEl>
                                                  <p:pRg st="0" end="0"/>
                                                </p:txEl>
                                              </p:spTgt>
                                            </p:tgtEl>
                                            <p:attrNameLst>
                                              <p:attrName>ppt_x</p:attrName>
                                            </p:attrNameLst>
                                          </p:cBhvr>
                                          <p:tavLst>
                                            <p:tav tm="0">
                                              <p:val>
                                                <p:strVal val="#ppt_x"/>
                                              </p:val>
                                            </p:tav>
                                            <p:tav tm="100000">
                                              <p:val>
                                                <p:strVal val="#ppt_x"/>
                                              </p:val>
                                            </p:tav>
                                          </p:tavLst>
                                        </p:anim>
                                        <p:anim calcmode="lin" valueType="num" p14:bounceEnd="45000">
                                          <p:cBhvr additive="base">
                                            <p:cTn id="12" dur="2000" fill="hold"/>
                                            <p:tgtEl>
                                              <p:spTgt spid="6">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45000">
                                      <p:stCondLst>
                                        <p:cond delay="0"/>
                                      </p:stCondLst>
                                      <p:childTnLst>
                                        <p:set>
                                          <p:cBhvr>
                                            <p:cTn id="14" dur="1" fill="hold">
                                              <p:stCondLst>
                                                <p:cond delay="0"/>
                                              </p:stCondLst>
                                            </p:cTn>
                                            <p:tgtEl>
                                              <p:spTgt spid="51">
                                                <p:bg/>
                                              </p:spTgt>
                                            </p:tgtEl>
                                            <p:attrNameLst>
                                              <p:attrName>style.visibility</p:attrName>
                                            </p:attrNameLst>
                                          </p:cBhvr>
                                          <p:to>
                                            <p:strVal val="visible"/>
                                          </p:to>
                                        </p:set>
                                        <p:anim calcmode="lin" valueType="num" p14:bounceEnd="45000">
                                          <p:cBhvr additive="base">
                                            <p:cTn id="15" dur="2000" fill="hold"/>
                                            <p:tgtEl>
                                              <p:spTgt spid="51">
                                                <p:bg/>
                                              </p:spTgt>
                                            </p:tgtEl>
                                            <p:attrNameLst>
                                              <p:attrName>ppt_x</p:attrName>
                                            </p:attrNameLst>
                                          </p:cBhvr>
                                          <p:tavLst>
                                            <p:tav tm="0">
                                              <p:val>
                                                <p:strVal val="#ppt_x"/>
                                              </p:val>
                                            </p:tav>
                                            <p:tav tm="100000">
                                              <p:val>
                                                <p:strVal val="#ppt_x"/>
                                              </p:val>
                                            </p:tav>
                                          </p:tavLst>
                                        </p:anim>
                                        <p:anim calcmode="lin" valueType="num" p14:bounceEnd="45000">
                                          <p:cBhvr additive="base">
                                            <p:cTn id="16" dur="2000" fill="hold"/>
                                            <p:tgtEl>
                                              <p:spTgt spid="51">
                                                <p:bg/>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45000">
                                      <p:stCondLst>
                                        <p:cond delay="0"/>
                                      </p:stCondLst>
                                      <p:childTnLst>
                                        <p:set>
                                          <p:cBhvr>
                                            <p:cTn id="18" dur="1" fill="hold">
                                              <p:stCondLst>
                                                <p:cond delay="0"/>
                                              </p:stCondLst>
                                            </p:cTn>
                                            <p:tgtEl>
                                              <p:spTgt spid="51">
                                                <p:txEl>
                                                  <p:pRg st="0" end="0"/>
                                                </p:txEl>
                                              </p:spTgt>
                                            </p:tgtEl>
                                            <p:attrNameLst>
                                              <p:attrName>style.visibility</p:attrName>
                                            </p:attrNameLst>
                                          </p:cBhvr>
                                          <p:to>
                                            <p:strVal val="visible"/>
                                          </p:to>
                                        </p:set>
                                        <p:anim calcmode="lin" valueType="num" p14:bounceEnd="45000">
                                          <p:cBhvr additive="base">
                                            <p:cTn id="19" dur="2000" fill="hold"/>
                                            <p:tgtEl>
                                              <p:spTgt spid="51">
                                                <p:txEl>
                                                  <p:pRg st="0" end="0"/>
                                                </p:txEl>
                                              </p:spTgt>
                                            </p:tgtEl>
                                            <p:attrNameLst>
                                              <p:attrName>ppt_x</p:attrName>
                                            </p:attrNameLst>
                                          </p:cBhvr>
                                          <p:tavLst>
                                            <p:tav tm="0">
                                              <p:val>
                                                <p:strVal val="#ppt_x"/>
                                              </p:val>
                                            </p:tav>
                                            <p:tav tm="100000">
                                              <p:val>
                                                <p:strVal val="#ppt_x"/>
                                              </p:val>
                                            </p:tav>
                                          </p:tavLst>
                                        </p:anim>
                                        <p:anim calcmode="lin" valueType="num" p14:bounceEnd="45000">
                                          <p:cBhvr additive="base">
                                            <p:cTn id="20" dur="2000" fill="hold"/>
                                            <p:tgtEl>
                                              <p:spTgt spid="51">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14:presetBounceEnd="45000">
                                      <p:stCondLst>
                                        <p:cond delay="0"/>
                                      </p:stCondLst>
                                      <p:childTnLst>
                                        <p:set>
                                          <p:cBhvr>
                                            <p:cTn id="22" dur="1" fill="hold">
                                              <p:stCondLst>
                                                <p:cond delay="0"/>
                                              </p:stCondLst>
                                            </p:cTn>
                                            <p:tgtEl>
                                              <p:spTgt spid="52">
                                                <p:bg/>
                                              </p:spTgt>
                                            </p:tgtEl>
                                            <p:attrNameLst>
                                              <p:attrName>style.visibility</p:attrName>
                                            </p:attrNameLst>
                                          </p:cBhvr>
                                          <p:to>
                                            <p:strVal val="visible"/>
                                          </p:to>
                                        </p:set>
                                        <p:anim calcmode="lin" valueType="num" p14:bounceEnd="45000">
                                          <p:cBhvr additive="base">
                                            <p:cTn id="23" dur="2000" fill="hold"/>
                                            <p:tgtEl>
                                              <p:spTgt spid="52">
                                                <p:bg/>
                                              </p:spTgt>
                                            </p:tgtEl>
                                            <p:attrNameLst>
                                              <p:attrName>ppt_x</p:attrName>
                                            </p:attrNameLst>
                                          </p:cBhvr>
                                          <p:tavLst>
                                            <p:tav tm="0">
                                              <p:val>
                                                <p:strVal val="#ppt_x"/>
                                              </p:val>
                                            </p:tav>
                                            <p:tav tm="100000">
                                              <p:val>
                                                <p:strVal val="#ppt_x"/>
                                              </p:val>
                                            </p:tav>
                                          </p:tavLst>
                                        </p:anim>
                                        <p:anim calcmode="lin" valueType="num" p14:bounceEnd="45000">
                                          <p:cBhvr additive="base">
                                            <p:cTn id="24" dur="2000" fill="hold"/>
                                            <p:tgtEl>
                                              <p:spTgt spid="52">
                                                <p:bg/>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14:presetBounceEnd="45000">
                                      <p:stCondLst>
                                        <p:cond delay="0"/>
                                      </p:stCondLst>
                                      <p:childTnLst>
                                        <p:set>
                                          <p:cBhvr>
                                            <p:cTn id="26" dur="1" fill="hold">
                                              <p:stCondLst>
                                                <p:cond delay="0"/>
                                              </p:stCondLst>
                                            </p:cTn>
                                            <p:tgtEl>
                                              <p:spTgt spid="52">
                                                <p:txEl>
                                                  <p:pRg st="0" end="0"/>
                                                </p:txEl>
                                              </p:spTgt>
                                            </p:tgtEl>
                                            <p:attrNameLst>
                                              <p:attrName>style.visibility</p:attrName>
                                            </p:attrNameLst>
                                          </p:cBhvr>
                                          <p:to>
                                            <p:strVal val="visible"/>
                                          </p:to>
                                        </p:set>
                                        <p:anim calcmode="lin" valueType="num" p14:bounceEnd="45000">
                                          <p:cBhvr additive="base">
                                            <p:cTn id="27" dur="2000" fill="hold"/>
                                            <p:tgtEl>
                                              <p:spTgt spid="52">
                                                <p:txEl>
                                                  <p:pRg st="0" end="0"/>
                                                </p:txEl>
                                              </p:spTgt>
                                            </p:tgtEl>
                                            <p:attrNameLst>
                                              <p:attrName>ppt_x</p:attrName>
                                            </p:attrNameLst>
                                          </p:cBhvr>
                                          <p:tavLst>
                                            <p:tav tm="0">
                                              <p:val>
                                                <p:strVal val="#ppt_x"/>
                                              </p:val>
                                            </p:tav>
                                            <p:tav tm="100000">
                                              <p:val>
                                                <p:strVal val="#ppt_x"/>
                                              </p:val>
                                            </p:tav>
                                          </p:tavLst>
                                        </p:anim>
                                        <p:anim calcmode="lin" valueType="num" p14:bounceEnd="45000">
                                          <p:cBhvr additive="base">
                                            <p:cTn id="28" dur="2000" fill="hold"/>
                                            <p:tgtEl>
                                              <p:spTgt spid="52">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14:presetBounceEnd="45000">
                                      <p:stCondLst>
                                        <p:cond delay="0"/>
                                      </p:stCondLst>
                                      <p:childTnLst>
                                        <p:set>
                                          <p:cBhvr>
                                            <p:cTn id="30" dur="1" fill="hold">
                                              <p:stCondLst>
                                                <p:cond delay="0"/>
                                              </p:stCondLst>
                                            </p:cTn>
                                            <p:tgtEl>
                                              <p:spTgt spid="53">
                                                <p:bg/>
                                              </p:spTgt>
                                            </p:tgtEl>
                                            <p:attrNameLst>
                                              <p:attrName>style.visibility</p:attrName>
                                            </p:attrNameLst>
                                          </p:cBhvr>
                                          <p:to>
                                            <p:strVal val="visible"/>
                                          </p:to>
                                        </p:set>
                                        <p:anim calcmode="lin" valueType="num" p14:bounceEnd="45000">
                                          <p:cBhvr additive="base">
                                            <p:cTn id="31" dur="2000" fill="hold"/>
                                            <p:tgtEl>
                                              <p:spTgt spid="53">
                                                <p:bg/>
                                              </p:spTgt>
                                            </p:tgtEl>
                                            <p:attrNameLst>
                                              <p:attrName>ppt_x</p:attrName>
                                            </p:attrNameLst>
                                          </p:cBhvr>
                                          <p:tavLst>
                                            <p:tav tm="0">
                                              <p:val>
                                                <p:strVal val="#ppt_x"/>
                                              </p:val>
                                            </p:tav>
                                            <p:tav tm="100000">
                                              <p:val>
                                                <p:strVal val="#ppt_x"/>
                                              </p:val>
                                            </p:tav>
                                          </p:tavLst>
                                        </p:anim>
                                        <p:anim calcmode="lin" valueType="num" p14:bounceEnd="45000">
                                          <p:cBhvr additive="base">
                                            <p:cTn id="32" dur="2000" fill="hold"/>
                                            <p:tgtEl>
                                              <p:spTgt spid="53">
                                                <p:bg/>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14:presetBounceEnd="45000">
                                      <p:stCondLst>
                                        <p:cond delay="0"/>
                                      </p:stCondLst>
                                      <p:childTnLst>
                                        <p:set>
                                          <p:cBhvr>
                                            <p:cTn id="34" dur="1" fill="hold">
                                              <p:stCondLst>
                                                <p:cond delay="0"/>
                                              </p:stCondLst>
                                            </p:cTn>
                                            <p:tgtEl>
                                              <p:spTgt spid="53">
                                                <p:txEl>
                                                  <p:pRg st="0" end="0"/>
                                                </p:txEl>
                                              </p:spTgt>
                                            </p:tgtEl>
                                            <p:attrNameLst>
                                              <p:attrName>style.visibility</p:attrName>
                                            </p:attrNameLst>
                                          </p:cBhvr>
                                          <p:to>
                                            <p:strVal val="visible"/>
                                          </p:to>
                                        </p:set>
                                        <p:anim calcmode="lin" valueType="num" p14:bounceEnd="45000">
                                          <p:cBhvr additive="base">
                                            <p:cTn id="35" dur="2000" fill="hold"/>
                                            <p:tgtEl>
                                              <p:spTgt spid="53">
                                                <p:txEl>
                                                  <p:pRg st="0" end="0"/>
                                                </p:txEl>
                                              </p:spTgt>
                                            </p:tgtEl>
                                            <p:attrNameLst>
                                              <p:attrName>ppt_x</p:attrName>
                                            </p:attrNameLst>
                                          </p:cBhvr>
                                          <p:tavLst>
                                            <p:tav tm="0">
                                              <p:val>
                                                <p:strVal val="#ppt_x"/>
                                              </p:val>
                                            </p:tav>
                                            <p:tav tm="100000">
                                              <p:val>
                                                <p:strVal val="#ppt_x"/>
                                              </p:val>
                                            </p:tav>
                                          </p:tavLst>
                                        </p:anim>
                                        <p:anim calcmode="lin" valueType="num" p14:bounceEnd="45000">
                                          <p:cBhvr additive="base">
                                            <p:cTn id="36" dur="2000" fill="hold"/>
                                            <p:tgtEl>
                                              <p:spTgt spid="5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 presetClass="entr" presetSubtype="4" fill="hold" nodeType="withEffect" p14:presetBounceEnd="45000">
                      <p:stCondLst>
                        <p:cond delay="0"/>
                      </p:stCondLst>
                      <p:childTnLst>
                        <p:set>
                          <p:cBhvr>
                            <p:cTn dur="1" fill="hold">
                              <p:stCondLst>
                                <p:cond delay="0"/>
                              </p:stCondLst>
                            </p:cTn>
                            <p:tgtEl>
                              <p:spTgt spid="6"/>
                            </p:tgtEl>
                            <p:attrNameLst>
                              <p:attrName>style.visibility</p:attrName>
                            </p:attrNameLst>
                          </p:cBhvr>
                          <p:to>
                            <p:strVal val="visible"/>
                          </p:to>
                        </p:set>
                        <p:anim calcmode="lin" valueType="num" p14:bounceEnd="45000">
                          <p:cBhvr additive="base">
                            <p:cTn dur="2000" fill="hold"/>
                            <p:tgtEl>
                              <p:spTgt spid="6"/>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6"/>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14:presetBounceEnd="45000">
                      <p:stCondLst>
                        <p:cond delay="0"/>
                      </p:stCondLst>
                      <p:childTnLst>
                        <p:set>
                          <p:cBhvr>
                            <p:cTn dur="1" fill="hold">
                              <p:stCondLst>
                                <p:cond delay="0"/>
                              </p:stCondLst>
                            </p:cTn>
                            <p:tgtEl>
                              <p:spTgt spid="6"/>
                            </p:tgtEl>
                            <p:attrNameLst>
                              <p:attrName>style.visibility</p:attrName>
                            </p:attrNameLst>
                          </p:cBhvr>
                          <p:to>
                            <p:strVal val="visible"/>
                          </p:to>
                        </p:set>
                        <p:anim calcmode="lin" valueType="num" p14:bounceEnd="45000">
                          <p:cBhvr additive="base">
                            <p:cTn dur="2000" fill="hold"/>
                            <p:tgtEl>
                              <p:spTgt spid="6"/>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6"/>
                            </p:tgtEl>
                            <p:attrNameLst>
                              <p:attrName>ppt_y</p:attrName>
                            </p:attrNameLst>
                          </p:cBhvr>
                          <p:tavLst>
                            <p:tav tm="0">
                              <p:val>
                                <p:strVal val="1+#ppt_h/2"/>
                              </p:val>
                            </p:tav>
                            <p:tav tm="100000">
                              <p:val>
                                <p:strVal val="#ppt_y"/>
                              </p:val>
                            </p:tav>
                          </p:tavLst>
                        </p:anim>
                      </p:childTnLst>
                    </p:cTn>
                  </p:par>
                </p:tnLst>
              </p:tmpl>
            </p:tmplLst>
          </p:bldP>
          <p:bldP spid="51" grpId="0" build="p" animBg="1">
            <p:tmplLst>
              <p:tmpl>
                <p:tnLst>
                  <p:par>
                    <p:cTn presetID="2" presetClass="entr" presetSubtype="4" fill="hold" nodeType="withEffect" p14:presetBounceEnd="45000">
                      <p:stCondLst>
                        <p:cond delay="0"/>
                      </p:stCondLst>
                      <p:childTnLst>
                        <p:set>
                          <p:cBhvr>
                            <p:cTn dur="1" fill="hold">
                              <p:stCondLst>
                                <p:cond delay="0"/>
                              </p:stCondLst>
                            </p:cTn>
                            <p:tgtEl>
                              <p:spTgt spid="51"/>
                            </p:tgtEl>
                            <p:attrNameLst>
                              <p:attrName>style.visibility</p:attrName>
                            </p:attrNameLst>
                          </p:cBhvr>
                          <p:to>
                            <p:strVal val="visible"/>
                          </p:to>
                        </p:set>
                        <p:anim calcmode="lin" valueType="num" p14:bounceEnd="45000">
                          <p:cBhvr additive="base">
                            <p:cTn dur="2000" fill="hold"/>
                            <p:tgtEl>
                              <p:spTgt spid="51"/>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51"/>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14:presetBounceEnd="45000">
                      <p:stCondLst>
                        <p:cond delay="0"/>
                      </p:stCondLst>
                      <p:childTnLst>
                        <p:set>
                          <p:cBhvr>
                            <p:cTn dur="1" fill="hold">
                              <p:stCondLst>
                                <p:cond delay="0"/>
                              </p:stCondLst>
                            </p:cTn>
                            <p:tgtEl>
                              <p:spTgt spid="51"/>
                            </p:tgtEl>
                            <p:attrNameLst>
                              <p:attrName>style.visibility</p:attrName>
                            </p:attrNameLst>
                          </p:cBhvr>
                          <p:to>
                            <p:strVal val="visible"/>
                          </p:to>
                        </p:set>
                        <p:anim calcmode="lin" valueType="num" p14:bounceEnd="45000">
                          <p:cBhvr additive="base">
                            <p:cTn dur="2000" fill="hold"/>
                            <p:tgtEl>
                              <p:spTgt spid="51"/>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51"/>
                            </p:tgtEl>
                            <p:attrNameLst>
                              <p:attrName>ppt_y</p:attrName>
                            </p:attrNameLst>
                          </p:cBhvr>
                          <p:tavLst>
                            <p:tav tm="0">
                              <p:val>
                                <p:strVal val="1+#ppt_h/2"/>
                              </p:val>
                            </p:tav>
                            <p:tav tm="100000">
                              <p:val>
                                <p:strVal val="#ppt_y"/>
                              </p:val>
                            </p:tav>
                          </p:tavLst>
                        </p:anim>
                      </p:childTnLst>
                    </p:cTn>
                  </p:par>
                </p:tnLst>
              </p:tmpl>
            </p:tmplLst>
          </p:bldP>
          <p:bldP spid="52" grpId="0" build="p" animBg="1">
            <p:tmplLst>
              <p:tmpl>
                <p:tnLst>
                  <p:par>
                    <p:cTn presetID="2" presetClass="entr" presetSubtype="4" fill="hold" nodeType="withEffect" p14:presetBounceEnd="45000">
                      <p:stCondLst>
                        <p:cond delay="0"/>
                      </p:stCondLst>
                      <p:childTnLst>
                        <p:set>
                          <p:cBhvr>
                            <p:cTn dur="1" fill="hold">
                              <p:stCondLst>
                                <p:cond delay="0"/>
                              </p:stCondLst>
                            </p:cTn>
                            <p:tgtEl>
                              <p:spTgt spid="52"/>
                            </p:tgtEl>
                            <p:attrNameLst>
                              <p:attrName>style.visibility</p:attrName>
                            </p:attrNameLst>
                          </p:cBhvr>
                          <p:to>
                            <p:strVal val="visible"/>
                          </p:to>
                        </p:set>
                        <p:anim calcmode="lin" valueType="num" p14:bounceEnd="45000">
                          <p:cBhvr additive="base">
                            <p:cTn dur="2000" fill="hold"/>
                            <p:tgtEl>
                              <p:spTgt spid="52"/>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52"/>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14:presetBounceEnd="45000">
                      <p:stCondLst>
                        <p:cond delay="0"/>
                      </p:stCondLst>
                      <p:childTnLst>
                        <p:set>
                          <p:cBhvr>
                            <p:cTn dur="1" fill="hold">
                              <p:stCondLst>
                                <p:cond delay="0"/>
                              </p:stCondLst>
                            </p:cTn>
                            <p:tgtEl>
                              <p:spTgt spid="52"/>
                            </p:tgtEl>
                            <p:attrNameLst>
                              <p:attrName>style.visibility</p:attrName>
                            </p:attrNameLst>
                          </p:cBhvr>
                          <p:to>
                            <p:strVal val="visible"/>
                          </p:to>
                        </p:set>
                        <p:anim calcmode="lin" valueType="num" p14:bounceEnd="45000">
                          <p:cBhvr additive="base">
                            <p:cTn dur="2000" fill="hold"/>
                            <p:tgtEl>
                              <p:spTgt spid="52"/>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52"/>
                            </p:tgtEl>
                            <p:attrNameLst>
                              <p:attrName>ppt_y</p:attrName>
                            </p:attrNameLst>
                          </p:cBhvr>
                          <p:tavLst>
                            <p:tav tm="0">
                              <p:val>
                                <p:strVal val="1+#ppt_h/2"/>
                              </p:val>
                            </p:tav>
                            <p:tav tm="100000">
                              <p:val>
                                <p:strVal val="#ppt_y"/>
                              </p:val>
                            </p:tav>
                          </p:tavLst>
                        </p:anim>
                      </p:childTnLst>
                    </p:cTn>
                  </p:par>
                </p:tnLst>
              </p:tmpl>
            </p:tmplLst>
          </p:bldP>
          <p:bldP spid="53" grpId="0" build="p" animBg="1">
            <p:tmplLst>
              <p:tmpl>
                <p:tnLst>
                  <p:par>
                    <p:cTn presetID="2" presetClass="entr" presetSubtype="4" fill="hold" nodeType="withEffect" p14:presetBounceEnd="45000">
                      <p:stCondLst>
                        <p:cond delay="0"/>
                      </p:stCondLst>
                      <p:childTnLst>
                        <p:set>
                          <p:cBhvr>
                            <p:cTn dur="1" fill="hold">
                              <p:stCondLst>
                                <p:cond delay="0"/>
                              </p:stCondLst>
                            </p:cTn>
                            <p:tgtEl>
                              <p:spTgt spid="53"/>
                            </p:tgtEl>
                            <p:attrNameLst>
                              <p:attrName>style.visibility</p:attrName>
                            </p:attrNameLst>
                          </p:cBhvr>
                          <p:to>
                            <p:strVal val="visible"/>
                          </p:to>
                        </p:set>
                        <p:anim calcmode="lin" valueType="num" p14:bounceEnd="45000">
                          <p:cBhvr additive="base">
                            <p:cTn dur="2000" fill="hold"/>
                            <p:tgtEl>
                              <p:spTgt spid="53"/>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53"/>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14:presetBounceEnd="45000">
                      <p:stCondLst>
                        <p:cond delay="0"/>
                      </p:stCondLst>
                      <p:childTnLst>
                        <p:set>
                          <p:cBhvr>
                            <p:cTn dur="1" fill="hold">
                              <p:stCondLst>
                                <p:cond delay="0"/>
                              </p:stCondLst>
                            </p:cTn>
                            <p:tgtEl>
                              <p:spTgt spid="53"/>
                            </p:tgtEl>
                            <p:attrNameLst>
                              <p:attrName>style.visibility</p:attrName>
                            </p:attrNameLst>
                          </p:cBhvr>
                          <p:to>
                            <p:strVal val="visible"/>
                          </p:to>
                        </p:set>
                        <p:anim calcmode="lin" valueType="num" p14:bounceEnd="45000">
                          <p:cBhvr additive="base">
                            <p:cTn dur="2000" fill="hold"/>
                            <p:tgtEl>
                              <p:spTgt spid="53"/>
                            </p:tgtEl>
                            <p:attrNameLst>
                              <p:attrName>ppt_x</p:attrName>
                            </p:attrNameLst>
                          </p:cBhvr>
                          <p:tavLst>
                            <p:tav tm="0">
                              <p:val>
                                <p:strVal val="#ppt_x"/>
                              </p:val>
                            </p:tav>
                            <p:tav tm="100000">
                              <p:val>
                                <p:strVal val="#ppt_x"/>
                              </p:val>
                            </p:tav>
                          </p:tavLst>
                        </p:anim>
                        <p:anim calcmode="lin" valueType="num" p14:bounceEnd="45000">
                          <p:cBhvr additive="base">
                            <p:cTn dur="2000" fill="hold"/>
                            <p:tgtEl>
                              <p:spTgt spid="53"/>
                            </p:tgtEl>
                            <p:attrNameLst>
                              <p:attrName>ppt_y</p:attrName>
                            </p:attrNameLst>
                          </p:cBhvr>
                          <p:tavLst>
                            <p:tav tm="0">
                              <p:val>
                                <p:strVal val="1+#ppt_h/2"/>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additive="base">
                                            <p:cTn id="7" dur="2000" fill="hold"/>
                                            <p:tgtEl>
                                              <p:spTgt spid="6">
                                                <p:bg/>
                                              </p:spTgt>
                                            </p:tgtEl>
                                            <p:attrNameLst>
                                              <p:attrName>ppt_x</p:attrName>
                                            </p:attrNameLst>
                                          </p:cBhvr>
                                          <p:tavLst>
                                            <p:tav tm="0">
                                              <p:val>
                                                <p:strVal val="#ppt_x"/>
                                              </p:val>
                                            </p:tav>
                                            <p:tav tm="100000">
                                              <p:val>
                                                <p:strVal val="#ppt_x"/>
                                              </p:val>
                                            </p:tav>
                                          </p:tavLst>
                                        </p:anim>
                                        <p:anim calcmode="lin" valueType="num">
                                          <p:cBhvr additive="base">
                                            <p:cTn id="8" dur="2000" fill="hold"/>
                                            <p:tgtEl>
                                              <p:spTgt spid="6">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 calcmode="lin" valueType="num">
                                          <p:cBhvr additive="base">
                                            <p:cTn id="11" dur="20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12" dur="2000" fill="hold"/>
                                            <p:tgtEl>
                                              <p:spTgt spid="6">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1">
                                                <p:bg/>
                                              </p:spTgt>
                                            </p:tgtEl>
                                            <p:attrNameLst>
                                              <p:attrName>style.visibility</p:attrName>
                                            </p:attrNameLst>
                                          </p:cBhvr>
                                          <p:to>
                                            <p:strVal val="visible"/>
                                          </p:to>
                                        </p:set>
                                        <p:anim calcmode="lin" valueType="num">
                                          <p:cBhvr additive="base">
                                            <p:cTn id="15" dur="2000" fill="hold"/>
                                            <p:tgtEl>
                                              <p:spTgt spid="51">
                                                <p:bg/>
                                              </p:spTgt>
                                            </p:tgtEl>
                                            <p:attrNameLst>
                                              <p:attrName>ppt_x</p:attrName>
                                            </p:attrNameLst>
                                          </p:cBhvr>
                                          <p:tavLst>
                                            <p:tav tm="0">
                                              <p:val>
                                                <p:strVal val="#ppt_x"/>
                                              </p:val>
                                            </p:tav>
                                            <p:tav tm="100000">
                                              <p:val>
                                                <p:strVal val="#ppt_x"/>
                                              </p:val>
                                            </p:tav>
                                          </p:tavLst>
                                        </p:anim>
                                        <p:anim calcmode="lin" valueType="num">
                                          <p:cBhvr additive="base">
                                            <p:cTn id="16" dur="2000" fill="hold"/>
                                            <p:tgtEl>
                                              <p:spTgt spid="51">
                                                <p:bg/>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51">
                                                <p:txEl>
                                                  <p:pRg st="0" end="0"/>
                                                </p:txEl>
                                              </p:spTgt>
                                            </p:tgtEl>
                                            <p:attrNameLst>
                                              <p:attrName>style.visibility</p:attrName>
                                            </p:attrNameLst>
                                          </p:cBhvr>
                                          <p:to>
                                            <p:strVal val="visible"/>
                                          </p:to>
                                        </p:set>
                                        <p:anim calcmode="lin" valueType="num">
                                          <p:cBhvr additive="base">
                                            <p:cTn id="19" dur="2000" fill="hold"/>
                                            <p:tgtEl>
                                              <p:spTgt spid="51">
                                                <p:txEl>
                                                  <p:pRg st="0" end="0"/>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51">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52">
                                                <p:bg/>
                                              </p:spTgt>
                                            </p:tgtEl>
                                            <p:attrNameLst>
                                              <p:attrName>style.visibility</p:attrName>
                                            </p:attrNameLst>
                                          </p:cBhvr>
                                          <p:to>
                                            <p:strVal val="visible"/>
                                          </p:to>
                                        </p:set>
                                        <p:anim calcmode="lin" valueType="num">
                                          <p:cBhvr additive="base">
                                            <p:cTn id="23" dur="2000" fill="hold"/>
                                            <p:tgtEl>
                                              <p:spTgt spid="52">
                                                <p:bg/>
                                              </p:spTgt>
                                            </p:tgtEl>
                                            <p:attrNameLst>
                                              <p:attrName>ppt_x</p:attrName>
                                            </p:attrNameLst>
                                          </p:cBhvr>
                                          <p:tavLst>
                                            <p:tav tm="0">
                                              <p:val>
                                                <p:strVal val="#ppt_x"/>
                                              </p:val>
                                            </p:tav>
                                            <p:tav tm="100000">
                                              <p:val>
                                                <p:strVal val="#ppt_x"/>
                                              </p:val>
                                            </p:tav>
                                          </p:tavLst>
                                        </p:anim>
                                        <p:anim calcmode="lin" valueType="num">
                                          <p:cBhvr additive="base">
                                            <p:cTn id="24" dur="2000" fill="hold"/>
                                            <p:tgtEl>
                                              <p:spTgt spid="52">
                                                <p:bg/>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2">
                                                <p:txEl>
                                                  <p:pRg st="0" end="0"/>
                                                </p:txEl>
                                              </p:spTgt>
                                            </p:tgtEl>
                                            <p:attrNameLst>
                                              <p:attrName>style.visibility</p:attrName>
                                            </p:attrNameLst>
                                          </p:cBhvr>
                                          <p:to>
                                            <p:strVal val="visible"/>
                                          </p:to>
                                        </p:set>
                                        <p:anim calcmode="lin" valueType="num">
                                          <p:cBhvr additive="base">
                                            <p:cTn id="27" dur="2000" fill="hold"/>
                                            <p:tgtEl>
                                              <p:spTgt spid="52">
                                                <p:txEl>
                                                  <p:pRg st="0" end="0"/>
                                                </p:txEl>
                                              </p:spTgt>
                                            </p:tgtEl>
                                            <p:attrNameLst>
                                              <p:attrName>ppt_x</p:attrName>
                                            </p:attrNameLst>
                                          </p:cBhvr>
                                          <p:tavLst>
                                            <p:tav tm="0">
                                              <p:val>
                                                <p:strVal val="#ppt_x"/>
                                              </p:val>
                                            </p:tav>
                                            <p:tav tm="100000">
                                              <p:val>
                                                <p:strVal val="#ppt_x"/>
                                              </p:val>
                                            </p:tav>
                                          </p:tavLst>
                                        </p:anim>
                                        <p:anim calcmode="lin" valueType="num">
                                          <p:cBhvr additive="base">
                                            <p:cTn id="28" dur="2000" fill="hold"/>
                                            <p:tgtEl>
                                              <p:spTgt spid="52">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53">
                                                <p:bg/>
                                              </p:spTgt>
                                            </p:tgtEl>
                                            <p:attrNameLst>
                                              <p:attrName>style.visibility</p:attrName>
                                            </p:attrNameLst>
                                          </p:cBhvr>
                                          <p:to>
                                            <p:strVal val="visible"/>
                                          </p:to>
                                        </p:set>
                                        <p:anim calcmode="lin" valueType="num">
                                          <p:cBhvr additive="base">
                                            <p:cTn id="31" dur="2000" fill="hold"/>
                                            <p:tgtEl>
                                              <p:spTgt spid="53">
                                                <p:bg/>
                                              </p:spTgt>
                                            </p:tgtEl>
                                            <p:attrNameLst>
                                              <p:attrName>ppt_x</p:attrName>
                                            </p:attrNameLst>
                                          </p:cBhvr>
                                          <p:tavLst>
                                            <p:tav tm="0">
                                              <p:val>
                                                <p:strVal val="#ppt_x"/>
                                              </p:val>
                                            </p:tav>
                                            <p:tav tm="100000">
                                              <p:val>
                                                <p:strVal val="#ppt_x"/>
                                              </p:val>
                                            </p:tav>
                                          </p:tavLst>
                                        </p:anim>
                                        <p:anim calcmode="lin" valueType="num">
                                          <p:cBhvr additive="base">
                                            <p:cTn id="32" dur="2000" fill="hold"/>
                                            <p:tgtEl>
                                              <p:spTgt spid="53">
                                                <p:bg/>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53">
                                                <p:txEl>
                                                  <p:pRg st="0" end="0"/>
                                                </p:txEl>
                                              </p:spTgt>
                                            </p:tgtEl>
                                            <p:attrNameLst>
                                              <p:attrName>style.visibility</p:attrName>
                                            </p:attrNameLst>
                                          </p:cBhvr>
                                          <p:to>
                                            <p:strVal val="visible"/>
                                          </p:to>
                                        </p:set>
                                        <p:anim calcmode="lin" valueType="num">
                                          <p:cBhvr additive="base">
                                            <p:cTn id="35" dur="2000" fill="hold"/>
                                            <p:tgtEl>
                                              <p:spTgt spid="53">
                                                <p:txEl>
                                                  <p:pRg st="0" end="0"/>
                                                </p:txEl>
                                              </p:spTgt>
                                            </p:tgtEl>
                                            <p:attrNameLst>
                                              <p:attrName>ppt_x</p:attrName>
                                            </p:attrNameLst>
                                          </p:cBhvr>
                                          <p:tavLst>
                                            <p:tav tm="0">
                                              <p:val>
                                                <p:strVal val="#ppt_x"/>
                                              </p:val>
                                            </p:tav>
                                            <p:tav tm="100000">
                                              <p:val>
                                                <p:strVal val="#ppt_x"/>
                                              </p:val>
                                            </p:tav>
                                          </p:tavLst>
                                        </p:anim>
                                        <p:anim calcmode="lin" valueType="num">
                                          <p:cBhvr additive="base">
                                            <p:cTn id="36" dur="2000" fill="hold"/>
                                            <p:tgtEl>
                                              <p:spTgt spid="5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 presetClass="entr" presetSubtype="4"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2000" fill="hold"/>
                            <p:tgtEl>
                              <p:spTgt spid="6"/>
                            </p:tgtEl>
                            <p:attrNameLst>
                              <p:attrName>ppt_x</p:attrName>
                            </p:attrNameLst>
                          </p:cBhvr>
                          <p:tavLst>
                            <p:tav tm="0">
                              <p:val>
                                <p:strVal val="#ppt_x"/>
                              </p:val>
                            </p:tav>
                            <p:tav tm="100000">
                              <p:val>
                                <p:strVal val="#ppt_x"/>
                              </p:val>
                            </p:tav>
                          </p:tavLst>
                        </p:anim>
                        <p:anim calcmode="lin" valueType="num">
                          <p:cBhvr additive="base">
                            <p:cTn dur="2000" fill="hold"/>
                            <p:tgtEl>
                              <p:spTgt spid="6"/>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2000" fill="hold"/>
                            <p:tgtEl>
                              <p:spTgt spid="6"/>
                            </p:tgtEl>
                            <p:attrNameLst>
                              <p:attrName>ppt_x</p:attrName>
                            </p:attrNameLst>
                          </p:cBhvr>
                          <p:tavLst>
                            <p:tav tm="0">
                              <p:val>
                                <p:strVal val="#ppt_x"/>
                              </p:val>
                            </p:tav>
                            <p:tav tm="100000">
                              <p:val>
                                <p:strVal val="#ppt_x"/>
                              </p:val>
                            </p:tav>
                          </p:tavLst>
                        </p:anim>
                        <p:anim calcmode="lin" valueType="num">
                          <p:cBhvr additive="base">
                            <p:cTn dur="2000" fill="hold"/>
                            <p:tgtEl>
                              <p:spTgt spid="6"/>
                            </p:tgtEl>
                            <p:attrNameLst>
                              <p:attrName>ppt_y</p:attrName>
                            </p:attrNameLst>
                          </p:cBhvr>
                          <p:tavLst>
                            <p:tav tm="0">
                              <p:val>
                                <p:strVal val="1+#ppt_h/2"/>
                              </p:val>
                            </p:tav>
                            <p:tav tm="100000">
                              <p:val>
                                <p:strVal val="#ppt_y"/>
                              </p:val>
                            </p:tav>
                          </p:tavLst>
                        </p:anim>
                      </p:childTnLst>
                    </p:cTn>
                  </p:par>
                </p:tnLst>
              </p:tmpl>
            </p:tmplLst>
          </p:bldP>
          <p:bldP spid="51" grpId="0" build="p" animBg="1">
            <p:tmplLst>
              <p:tmpl>
                <p:tnLst>
                  <p:par>
                    <p:cTn presetID="2" presetClass="entr" presetSubtype="4" fill="hold" nodeType="withEffect">
                      <p:stCondLst>
                        <p:cond delay="0"/>
                      </p:stCondLst>
                      <p:childTnLst>
                        <p:set>
                          <p:cBhvr>
                            <p:cTn dur="1" fill="hold">
                              <p:stCondLst>
                                <p:cond delay="0"/>
                              </p:stCondLst>
                            </p:cTn>
                            <p:tgtEl>
                              <p:spTgt spid="51"/>
                            </p:tgtEl>
                            <p:attrNameLst>
                              <p:attrName>style.visibility</p:attrName>
                            </p:attrNameLst>
                          </p:cBhvr>
                          <p:to>
                            <p:strVal val="visible"/>
                          </p:to>
                        </p:set>
                        <p:anim calcmode="lin" valueType="num">
                          <p:cBhvr additive="base">
                            <p:cTn dur="2000" fill="hold"/>
                            <p:tgtEl>
                              <p:spTgt spid="51"/>
                            </p:tgtEl>
                            <p:attrNameLst>
                              <p:attrName>ppt_x</p:attrName>
                            </p:attrNameLst>
                          </p:cBhvr>
                          <p:tavLst>
                            <p:tav tm="0">
                              <p:val>
                                <p:strVal val="#ppt_x"/>
                              </p:val>
                            </p:tav>
                            <p:tav tm="100000">
                              <p:val>
                                <p:strVal val="#ppt_x"/>
                              </p:val>
                            </p:tav>
                          </p:tavLst>
                        </p:anim>
                        <p:anim calcmode="lin" valueType="num">
                          <p:cBhvr additive="base">
                            <p:cTn dur="2000" fill="hold"/>
                            <p:tgtEl>
                              <p:spTgt spid="51"/>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stCondLst>
                        <p:cond delay="0"/>
                      </p:stCondLst>
                      <p:childTnLst>
                        <p:set>
                          <p:cBhvr>
                            <p:cTn dur="1" fill="hold">
                              <p:stCondLst>
                                <p:cond delay="0"/>
                              </p:stCondLst>
                            </p:cTn>
                            <p:tgtEl>
                              <p:spTgt spid="51"/>
                            </p:tgtEl>
                            <p:attrNameLst>
                              <p:attrName>style.visibility</p:attrName>
                            </p:attrNameLst>
                          </p:cBhvr>
                          <p:to>
                            <p:strVal val="visible"/>
                          </p:to>
                        </p:set>
                        <p:anim calcmode="lin" valueType="num">
                          <p:cBhvr additive="base">
                            <p:cTn dur="2000" fill="hold"/>
                            <p:tgtEl>
                              <p:spTgt spid="51"/>
                            </p:tgtEl>
                            <p:attrNameLst>
                              <p:attrName>ppt_x</p:attrName>
                            </p:attrNameLst>
                          </p:cBhvr>
                          <p:tavLst>
                            <p:tav tm="0">
                              <p:val>
                                <p:strVal val="#ppt_x"/>
                              </p:val>
                            </p:tav>
                            <p:tav tm="100000">
                              <p:val>
                                <p:strVal val="#ppt_x"/>
                              </p:val>
                            </p:tav>
                          </p:tavLst>
                        </p:anim>
                        <p:anim calcmode="lin" valueType="num">
                          <p:cBhvr additive="base">
                            <p:cTn dur="2000" fill="hold"/>
                            <p:tgtEl>
                              <p:spTgt spid="51"/>
                            </p:tgtEl>
                            <p:attrNameLst>
                              <p:attrName>ppt_y</p:attrName>
                            </p:attrNameLst>
                          </p:cBhvr>
                          <p:tavLst>
                            <p:tav tm="0">
                              <p:val>
                                <p:strVal val="1+#ppt_h/2"/>
                              </p:val>
                            </p:tav>
                            <p:tav tm="100000">
                              <p:val>
                                <p:strVal val="#ppt_y"/>
                              </p:val>
                            </p:tav>
                          </p:tavLst>
                        </p:anim>
                      </p:childTnLst>
                    </p:cTn>
                  </p:par>
                </p:tnLst>
              </p:tmpl>
            </p:tmplLst>
          </p:bldP>
          <p:bldP spid="52" grpId="0" build="p" animBg="1">
            <p:tmplLst>
              <p:tmpl>
                <p:tnLst>
                  <p:par>
                    <p:cTn presetID="2" presetClass="entr" presetSubtype="4" fill="hold" nodeType="withEffect">
                      <p:stCondLst>
                        <p:cond delay="0"/>
                      </p:stCondLst>
                      <p:childTnLst>
                        <p:set>
                          <p:cBhvr>
                            <p:cTn dur="1" fill="hold">
                              <p:stCondLst>
                                <p:cond delay="0"/>
                              </p:stCondLst>
                            </p:cTn>
                            <p:tgtEl>
                              <p:spTgt spid="52"/>
                            </p:tgtEl>
                            <p:attrNameLst>
                              <p:attrName>style.visibility</p:attrName>
                            </p:attrNameLst>
                          </p:cBhvr>
                          <p:to>
                            <p:strVal val="visible"/>
                          </p:to>
                        </p:set>
                        <p:anim calcmode="lin" valueType="num">
                          <p:cBhvr additive="base">
                            <p:cTn dur="2000" fill="hold"/>
                            <p:tgtEl>
                              <p:spTgt spid="52"/>
                            </p:tgtEl>
                            <p:attrNameLst>
                              <p:attrName>ppt_x</p:attrName>
                            </p:attrNameLst>
                          </p:cBhvr>
                          <p:tavLst>
                            <p:tav tm="0">
                              <p:val>
                                <p:strVal val="#ppt_x"/>
                              </p:val>
                            </p:tav>
                            <p:tav tm="100000">
                              <p:val>
                                <p:strVal val="#ppt_x"/>
                              </p:val>
                            </p:tav>
                          </p:tavLst>
                        </p:anim>
                        <p:anim calcmode="lin" valueType="num">
                          <p:cBhvr additive="base">
                            <p:cTn dur="2000" fill="hold"/>
                            <p:tgtEl>
                              <p:spTgt spid="52"/>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stCondLst>
                        <p:cond delay="0"/>
                      </p:stCondLst>
                      <p:childTnLst>
                        <p:set>
                          <p:cBhvr>
                            <p:cTn dur="1" fill="hold">
                              <p:stCondLst>
                                <p:cond delay="0"/>
                              </p:stCondLst>
                            </p:cTn>
                            <p:tgtEl>
                              <p:spTgt spid="52"/>
                            </p:tgtEl>
                            <p:attrNameLst>
                              <p:attrName>style.visibility</p:attrName>
                            </p:attrNameLst>
                          </p:cBhvr>
                          <p:to>
                            <p:strVal val="visible"/>
                          </p:to>
                        </p:set>
                        <p:anim calcmode="lin" valueType="num">
                          <p:cBhvr additive="base">
                            <p:cTn dur="2000" fill="hold"/>
                            <p:tgtEl>
                              <p:spTgt spid="52"/>
                            </p:tgtEl>
                            <p:attrNameLst>
                              <p:attrName>ppt_x</p:attrName>
                            </p:attrNameLst>
                          </p:cBhvr>
                          <p:tavLst>
                            <p:tav tm="0">
                              <p:val>
                                <p:strVal val="#ppt_x"/>
                              </p:val>
                            </p:tav>
                            <p:tav tm="100000">
                              <p:val>
                                <p:strVal val="#ppt_x"/>
                              </p:val>
                            </p:tav>
                          </p:tavLst>
                        </p:anim>
                        <p:anim calcmode="lin" valueType="num">
                          <p:cBhvr additive="base">
                            <p:cTn dur="2000" fill="hold"/>
                            <p:tgtEl>
                              <p:spTgt spid="52"/>
                            </p:tgtEl>
                            <p:attrNameLst>
                              <p:attrName>ppt_y</p:attrName>
                            </p:attrNameLst>
                          </p:cBhvr>
                          <p:tavLst>
                            <p:tav tm="0">
                              <p:val>
                                <p:strVal val="1+#ppt_h/2"/>
                              </p:val>
                            </p:tav>
                            <p:tav tm="100000">
                              <p:val>
                                <p:strVal val="#ppt_y"/>
                              </p:val>
                            </p:tav>
                          </p:tavLst>
                        </p:anim>
                      </p:childTnLst>
                    </p:cTn>
                  </p:par>
                </p:tnLst>
              </p:tmpl>
            </p:tmplLst>
          </p:bldP>
          <p:bldP spid="53" grpId="0" build="p" animBg="1">
            <p:tmplLst>
              <p:tmpl>
                <p:tnLst>
                  <p:par>
                    <p:cTn presetID="2" presetClass="entr" presetSubtype="4" fill="hold" nodeType="withEffect">
                      <p:stCondLst>
                        <p:cond delay="0"/>
                      </p:stCondLst>
                      <p:childTnLst>
                        <p:set>
                          <p:cBhvr>
                            <p:cTn dur="1" fill="hold">
                              <p:stCondLst>
                                <p:cond delay="0"/>
                              </p:stCondLst>
                            </p:cTn>
                            <p:tgtEl>
                              <p:spTgt spid="53"/>
                            </p:tgtEl>
                            <p:attrNameLst>
                              <p:attrName>style.visibility</p:attrName>
                            </p:attrNameLst>
                          </p:cBhvr>
                          <p:to>
                            <p:strVal val="visible"/>
                          </p:to>
                        </p:set>
                        <p:anim calcmode="lin" valueType="num">
                          <p:cBhvr additive="base">
                            <p:cTn dur="2000" fill="hold"/>
                            <p:tgtEl>
                              <p:spTgt spid="53"/>
                            </p:tgtEl>
                            <p:attrNameLst>
                              <p:attrName>ppt_x</p:attrName>
                            </p:attrNameLst>
                          </p:cBhvr>
                          <p:tavLst>
                            <p:tav tm="0">
                              <p:val>
                                <p:strVal val="#ppt_x"/>
                              </p:val>
                            </p:tav>
                            <p:tav tm="100000">
                              <p:val>
                                <p:strVal val="#ppt_x"/>
                              </p:val>
                            </p:tav>
                          </p:tavLst>
                        </p:anim>
                        <p:anim calcmode="lin" valueType="num">
                          <p:cBhvr additive="base">
                            <p:cTn dur="2000" fill="hold"/>
                            <p:tgtEl>
                              <p:spTgt spid="53"/>
                            </p:tgtEl>
                            <p:attrNameLst>
                              <p:attrName>ppt_y</p:attrName>
                            </p:attrNameLst>
                          </p:cBhvr>
                          <p:tavLst>
                            <p:tav tm="0">
                              <p:val>
                                <p:strVal val="1+#ppt_h/2"/>
                              </p:val>
                            </p:tav>
                            <p:tav tm="100000">
                              <p:val>
                                <p:strVal val="#ppt_y"/>
                              </p:val>
                            </p:tav>
                          </p:tavLst>
                        </p:anim>
                      </p:childTnLst>
                    </p:cTn>
                  </p:par>
                </p:tnLst>
              </p:tmpl>
              <p:tmpl lvl="1">
                <p:tnLst>
                  <p:par>
                    <p:cTn presetID="2" presetClass="entr" presetSubtype="4" fill="hold" nodeType="withEffect">
                      <p:stCondLst>
                        <p:cond delay="0"/>
                      </p:stCondLst>
                      <p:childTnLst>
                        <p:set>
                          <p:cBhvr>
                            <p:cTn dur="1" fill="hold">
                              <p:stCondLst>
                                <p:cond delay="0"/>
                              </p:stCondLst>
                            </p:cTn>
                            <p:tgtEl>
                              <p:spTgt spid="53"/>
                            </p:tgtEl>
                            <p:attrNameLst>
                              <p:attrName>style.visibility</p:attrName>
                            </p:attrNameLst>
                          </p:cBhvr>
                          <p:to>
                            <p:strVal val="visible"/>
                          </p:to>
                        </p:set>
                        <p:anim calcmode="lin" valueType="num">
                          <p:cBhvr additive="base">
                            <p:cTn dur="2000" fill="hold"/>
                            <p:tgtEl>
                              <p:spTgt spid="53"/>
                            </p:tgtEl>
                            <p:attrNameLst>
                              <p:attrName>ppt_x</p:attrName>
                            </p:attrNameLst>
                          </p:cBhvr>
                          <p:tavLst>
                            <p:tav tm="0">
                              <p:val>
                                <p:strVal val="#ppt_x"/>
                              </p:val>
                            </p:tav>
                            <p:tav tm="100000">
                              <p:val>
                                <p:strVal val="#ppt_x"/>
                              </p:val>
                            </p:tav>
                          </p:tavLst>
                        </p:anim>
                        <p:anim calcmode="lin" valueType="num">
                          <p:cBhvr additive="base">
                            <p:cTn dur="2000" fill="hold"/>
                            <p:tgtEl>
                              <p:spTgt spid="53"/>
                            </p:tgtEl>
                            <p:attrNameLst>
                              <p:attrName>ppt_y</p:attrName>
                            </p:attrNameLst>
                          </p:cBhvr>
                          <p:tavLst>
                            <p:tav tm="0">
                              <p:val>
                                <p:strVal val="1+#ppt_h/2"/>
                              </p:val>
                            </p:tav>
                            <p:tav tm="100000">
                              <p:val>
                                <p:strVal val="#ppt_y"/>
                              </p:val>
                            </p:tav>
                          </p:tavLst>
                        </p:anim>
                      </p:childTnLst>
                    </p:cTn>
                  </p:par>
                </p:tnLst>
              </p:tmpl>
            </p:tmplLst>
          </p:bldP>
        </p:bldLst>
      </p:timing>
    </mc:Fallback>
  </mc:AlternateContent>
  <p:extLst>
    <p:ext uri="{DCECCB84-F9BA-43D5-87BE-67443E8EF086}">
      <p15:sldGuideLst xmlns:p15="http://schemas.microsoft.com/office/powerpoint/2012/main">
        <p15:guide id="1" orient="horz" pos="3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ng agenda 3 points">
    <p:bg>
      <p:bgPr>
        <a:solidFill>
          <a:schemeClr val="accent3"/>
        </a:solidFill>
        <a:effectLst/>
      </p:bgPr>
    </p:b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225523-4114-4313-9B98-A0650456C210}"/>
              </a:ext>
            </a:extLst>
          </p:cNvPr>
          <p:cNvSpPr>
            <a:spLocks noGrp="1"/>
          </p:cNvSpPr>
          <p:nvPr>
            <p:ph type="body" sz="quarter" idx="13" hasCustomPrompt="1"/>
          </p:nvPr>
        </p:nvSpPr>
        <p:spPr bwMode="gray">
          <a:xfrm>
            <a:off x="911225" y="3716990"/>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8" name="Textplatzhalter 7">
            <a:extLst>
              <a:ext uri="{FF2B5EF4-FFF2-40B4-BE49-F238E27FC236}">
                <a16:creationId xmlns:a16="http://schemas.microsoft.com/office/drawing/2014/main" id="{13136FB6-2459-40BA-89FC-1C0C4A085B7A}"/>
              </a:ext>
            </a:extLst>
          </p:cNvPr>
          <p:cNvSpPr>
            <a:spLocks noGrp="1"/>
          </p:cNvSpPr>
          <p:nvPr>
            <p:ph type="body" sz="quarter" idx="16" hasCustomPrompt="1"/>
          </p:nvPr>
        </p:nvSpPr>
        <p:spPr bwMode="black">
          <a:xfrm>
            <a:off x="911225" y="2562782"/>
            <a:ext cx="2881313" cy="1008000"/>
          </a:xfrm>
        </p:spPr>
        <p:txBody>
          <a:bodyPr anchor="b"/>
          <a:lstStyle>
            <a:lvl1pPr marL="0" indent="0">
              <a:lnSpc>
                <a:spcPct val="100000"/>
              </a:lnSpc>
              <a:buFont typeface="Arial" panose="020B0604020202020204" pitchFamily="34" charset="0"/>
              <a:buNone/>
              <a:defRPr sz="3600" b="0">
                <a:solidFill>
                  <a:schemeClr val="bg1"/>
                </a:solidFill>
              </a:defRPr>
            </a:lvl1pPr>
            <a:lvl2pPr marL="0" indent="0">
              <a:buFont typeface="Arial" panose="020B0604020202020204" pitchFamily="34" charset="0"/>
              <a:buNone/>
              <a:defRPr sz="3600" b="0">
                <a:solidFill>
                  <a:schemeClr val="bg1"/>
                </a:solidFill>
              </a:defRPr>
            </a:lvl2pPr>
            <a:lvl3pPr marL="0" indent="0">
              <a:buNone/>
              <a:defRPr sz="3600" b="0">
                <a:solidFill>
                  <a:schemeClr val="bg1"/>
                </a:solidFill>
              </a:defRPr>
            </a:lvl3pPr>
            <a:lvl4pPr marL="0" indent="0">
              <a:buNone/>
              <a:defRPr sz="3600" b="0">
                <a:solidFill>
                  <a:schemeClr val="bg1"/>
                </a:solidFill>
              </a:defRPr>
            </a:lvl4pPr>
            <a:lvl5pPr marL="0" indent="0">
              <a:buNone/>
              <a:defRPr sz="3600" b="0">
                <a:solidFill>
                  <a:schemeClr val="bg1"/>
                </a:solidFill>
              </a:defRPr>
            </a:lvl5pPr>
            <a:lvl6pPr marL="0" indent="0">
              <a:buNone/>
              <a:defRPr sz="3600" b="0">
                <a:solidFill>
                  <a:schemeClr val="bg1"/>
                </a:solidFill>
              </a:defRPr>
            </a:lvl6pPr>
            <a:lvl7pPr marL="0" indent="0">
              <a:buNone/>
              <a:defRPr sz="3600" b="0">
                <a:solidFill>
                  <a:schemeClr val="bg1"/>
                </a:solidFill>
              </a:defRPr>
            </a:lvl7pPr>
            <a:lvl8pPr marL="0" indent="0">
              <a:buNone/>
              <a:defRPr sz="3600" b="0">
                <a:solidFill>
                  <a:schemeClr val="bg1"/>
                </a:solidFill>
              </a:defRPr>
            </a:lvl8pPr>
            <a:lvl9pPr marL="0" indent="0">
              <a:buNone/>
              <a:defRPr sz="3600" b="0">
                <a:solidFill>
                  <a:schemeClr val="bg1"/>
                </a:solidFill>
              </a:defRPr>
            </a:lvl9pPr>
          </a:lstStyle>
          <a:p>
            <a:pPr lvl="0"/>
            <a:r>
              <a:rPr lang="en-US" noProof="0"/>
              <a:t>First agenda point</a:t>
            </a:r>
          </a:p>
        </p:txBody>
      </p:sp>
      <p:sp>
        <p:nvSpPr>
          <p:cNvPr id="18" name="Textplatzhalter 7">
            <a:extLst>
              <a:ext uri="{FF2B5EF4-FFF2-40B4-BE49-F238E27FC236}">
                <a16:creationId xmlns:a16="http://schemas.microsoft.com/office/drawing/2014/main" id="{50B90DF4-2122-40A6-B0D7-CFBAA91F4F0D}"/>
              </a:ext>
            </a:extLst>
          </p:cNvPr>
          <p:cNvSpPr>
            <a:spLocks noGrp="1"/>
          </p:cNvSpPr>
          <p:nvPr>
            <p:ph type="body" sz="quarter" idx="17" hasCustomPrompt="1"/>
          </p:nvPr>
        </p:nvSpPr>
        <p:spPr bwMode="black">
          <a:xfrm>
            <a:off x="4654847" y="2563899"/>
            <a:ext cx="2881313" cy="1008000"/>
          </a:xfrm>
        </p:spPr>
        <p:txBody>
          <a:bodyPr anchor="b"/>
          <a:lstStyle>
            <a:lvl1pPr marL="0" indent="0">
              <a:lnSpc>
                <a:spcPct val="100000"/>
              </a:lnSpc>
              <a:buFont typeface="Arial" panose="020B0604020202020204" pitchFamily="34" charset="0"/>
              <a:buNone/>
              <a:defRPr sz="3600" b="0">
                <a:solidFill>
                  <a:schemeClr val="bg1"/>
                </a:solidFill>
              </a:defRPr>
            </a:lvl1pPr>
            <a:lvl2pPr marL="0" indent="536575">
              <a:buFont typeface="Arial" panose="020B0604020202020204" pitchFamily="34" charset="0"/>
              <a:buNone/>
              <a:defRPr sz="3600" b="0">
                <a:solidFill>
                  <a:schemeClr val="bg1"/>
                </a:solidFill>
              </a:defRPr>
            </a:lvl2pPr>
            <a:lvl3pPr marL="0" indent="0">
              <a:buNone/>
              <a:defRPr sz="3600" b="0">
                <a:solidFill>
                  <a:schemeClr val="bg1"/>
                </a:solidFill>
              </a:defRPr>
            </a:lvl3pPr>
            <a:lvl4pPr marL="0" indent="0">
              <a:buNone/>
              <a:defRPr sz="3600" b="0">
                <a:solidFill>
                  <a:schemeClr val="bg1"/>
                </a:solidFill>
              </a:defRPr>
            </a:lvl4pPr>
            <a:lvl5pPr marL="0" indent="0">
              <a:buNone/>
              <a:defRPr sz="3600" b="0">
                <a:solidFill>
                  <a:schemeClr val="bg1"/>
                </a:solidFill>
              </a:defRPr>
            </a:lvl5pPr>
            <a:lvl6pPr marL="0" indent="0">
              <a:buNone/>
              <a:defRPr sz="3600" b="0">
                <a:solidFill>
                  <a:schemeClr val="bg1"/>
                </a:solidFill>
              </a:defRPr>
            </a:lvl6pPr>
            <a:lvl7pPr marL="0" indent="0">
              <a:buNone/>
              <a:defRPr sz="3600" b="0">
                <a:solidFill>
                  <a:schemeClr val="bg1"/>
                </a:solidFill>
              </a:defRPr>
            </a:lvl7pPr>
            <a:lvl8pPr marL="0" indent="0">
              <a:buNone/>
              <a:defRPr sz="3600" b="0">
                <a:solidFill>
                  <a:schemeClr val="bg1"/>
                </a:solidFill>
              </a:defRPr>
            </a:lvl8pPr>
            <a:lvl9pPr marL="0" indent="0">
              <a:buNone/>
              <a:defRPr sz="3600" b="0">
                <a:solidFill>
                  <a:schemeClr val="bg1"/>
                </a:solidFill>
              </a:defRPr>
            </a:lvl9pPr>
          </a:lstStyle>
          <a:p>
            <a:pPr lvl="0"/>
            <a:r>
              <a:rPr lang="en-US" noProof="0"/>
              <a:t>Second agenda point</a:t>
            </a:r>
          </a:p>
        </p:txBody>
      </p:sp>
      <p:sp>
        <p:nvSpPr>
          <p:cNvPr id="19" name="Textplatzhalter 7">
            <a:extLst>
              <a:ext uri="{FF2B5EF4-FFF2-40B4-BE49-F238E27FC236}">
                <a16:creationId xmlns:a16="http://schemas.microsoft.com/office/drawing/2014/main" id="{5B50EB4E-71BC-49D0-A120-31E1C616C796}"/>
              </a:ext>
            </a:extLst>
          </p:cNvPr>
          <p:cNvSpPr>
            <a:spLocks noGrp="1"/>
          </p:cNvSpPr>
          <p:nvPr>
            <p:ph type="body" sz="quarter" idx="18" hasCustomPrompt="1"/>
          </p:nvPr>
        </p:nvSpPr>
        <p:spPr bwMode="black">
          <a:xfrm>
            <a:off x="8400256" y="2565016"/>
            <a:ext cx="2881313" cy="1008000"/>
          </a:xfrm>
        </p:spPr>
        <p:txBody>
          <a:bodyPr anchor="b"/>
          <a:lstStyle>
            <a:lvl1pPr marL="0" indent="0">
              <a:lnSpc>
                <a:spcPct val="100000"/>
              </a:lnSpc>
              <a:buFont typeface="Arial" panose="020B0604020202020204" pitchFamily="34" charset="0"/>
              <a:buNone/>
              <a:defRPr sz="3600" b="0">
                <a:solidFill>
                  <a:schemeClr val="bg1"/>
                </a:solidFill>
              </a:defRPr>
            </a:lvl1pPr>
            <a:lvl2pPr marL="0" indent="0">
              <a:buFont typeface="Arial" panose="020B0604020202020204" pitchFamily="34" charset="0"/>
              <a:buNone/>
              <a:defRPr sz="3600" b="0">
                <a:solidFill>
                  <a:schemeClr val="bg1"/>
                </a:solidFill>
              </a:defRPr>
            </a:lvl2pPr>
            <a:lvl3pPr marL="0" indent="0">
              <a:buNone/>
              <a:defRPr sz="3600" b="0">
                <a:solidFill>
                  <a:schemeClr val="bg1"/>
                </a:solidFill>
              </a:defRPr>
            </a:lvl3pPr>
            <a:lvl4pPr marL="0" indent="0">
              <a:buNone/>
              <a:defRPr sz="3600" b="0">
                <a:solidFill>
                  <a:schemeClr val="bg1"/>
                </a:solidFill>
              </a:defRPr>
            </a:lvl4pPr>
            <a:lvl5pPr marL="0" indent="0">
              <a:buNone/>
              <a:defRPr sz="3600" b="0">
                <a:solidFill>
                  <a:schemeClr val="bg1"/>
                </a:solidFill>
              </a:defRPr>
            </a:lvl5pPr>
            <a:lvl6pPr marL="0" indent="0">
              <a:buNone/>
              <a:defRPr sz="3600" b="0">
                <a:solidFill>
                  <a:schemeClr val="bg1"/>
                </a:solidFill>
              </a:defRPr>
            </a:lvl6pPr>
            <a:lvl7pPr marL="0" indent="0">
              <a:buNone/>
              <a:defRPr sz="3600" b="0">
                <a:solidFill>
                  <a:schemeClr val="bg1"/>
                </a:solidFill>
              </a:defRPr>
            </a:lvl7pPr>
            <a:lvl8pPr marL="0" indent="0">
              <a:buNone/>
              <a:defRPr sz="3600" b="0">
                <a:solidFill>
                  <a:schemeClr val="bg1"/>
                </a:solidFill>
              </a:defRPr>
            </a:lvl8pPr>
            <a:lvl9pPr marL="0" indent="0">
              <a:buNone/>
              <a:defRPr sz="3600" b="0">
                <a:solidFill>
                  <a:schemeClr val="bg1"/>
                </a:solidFill>
              </a:defRPr>
            </a:lvl9pPr>
          </a:lstStyle>
          <a:p>
            <a:pPr lvl="0"/>
            <a:r>
              <a:rPr lang="en-US" noProof="0"/>
              <a:t>Third agenda point</a:t>
            </a:r>
          </a:p>
        </p:txBody>
      </p:sp>
      <p:sp>
        <p:nvSpPr>
          <p:cNvPr id="20" name="Textplatzhalter 14">
            <a:extLst>
              <a:ext uri="{FF2B5EF4-FFF2-40B4-BE49-F238E27FC236}">
                <a16:creationId xmlns:a16="http://schemas.microsoft.com/office/drawing/2014/main" id="{A07888D3-4341-44B4-9CC4-A50BD18919F0}"/>
              </a:ext>
            </a:extLst>
          </p:cNvPr>
          <p:cNvSpPr>
            <a:spLocks noGrp="1"/>
          </p:cNvSpPr>
          <p:nvPr>
            <p:ph type="body" sz="quarter" idx="22" hasCustomPrompt="1"/>
          </p:nvPr>
        </p:nvSpPr>
        <p:spPr bwMode="black">
          <a:xfrm>
            <a:off x="911424" y="3933184"/>
            <a:ext cx="2881114" cy="1152000"/>
          </a:xfrm>
        </p:spPr>
        <p:txBody>
          <a:bodyPr/>
          <a:lstStyle>
            <a:lvl1pPr marL="0" indent="0">
              <a:lnSpc>
                <a:spcPct val="100000"/>
              </a:lnSpc>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24" name="Textplatzhalter 14">
            <a:extLst>
              <a:ext uri="{FF2B5EF4-FFF2-40B4-BE49-F238E27FC236}">
                <a16:creationId xmlns:a16="http://schemas.microsoft.com/office/drawing/2014/main" id="{25CED698-1D53-4E3A-BFDD-D6EE69F9CA7A}"/>
              </a:ext>
            </a:extLst>
          </p:cNvPr>
          <p:cNvSpPr>
            <a:spLocks noGrp="1"/>
          </p:cNvSpPr>
          <p:nvPr>
            <p:ph type="body" sz="quarter" idx="23" hasCustomPrompt="1"/>
          </p:nvPr>
        </p:nvSpPr>
        <p:spPr bwMode="black">
          <a:xfrm>
            <a:off x="4655046" y="3933056"/>
            <a:ext cx="2881114" cy="1152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noProof="0"/>
              <a:t>Click to add a text</a:t>
            </a:r>
          </a:p>
          <a:p>
            <a:pPr lvl="0"/>
            <a:endParaRPr lang="en-US" noProof="0"/>
          </a:p>
        </p:txBody>
      </p:sp>
      <p:sp>
        <p:nvSpPr>
          <p:cNvPr id="25" name="Textplatzhalter 14">
            <a:extLst>
              <a:ext uri="{FF2B5EF4-FFF2-40B4-BE49-F238E27FC236}">
                <a16:creationId xmlns:a16="http://schemas.microsoft.com/office/drawing/2014/main" id="{DFA4C0C2-A9A0-4623-BB19-6405AAA37F1C}"/>
              </a:ext>
            </a:extLst>
          </p:cNvPr>
          <p:cNvSpPr>
            <a:spLocks noGrp="1"/>
          </p:cNvSpPr>
          <p:nvPr>
            <p:ph type="body" sz="quarter" idx="24" hasCustomPrompt="1"/>
          </p:nvPr>
        </p:nvSpPr>
        <p:spPr bwMode="black">
          <a:xfrm>
            <a:off x="8400256" y="3932928"/>
            <a:ext cx="2881114" cy="1152000"/>
          </a:xfrm>
        </p:spPr>
        <p:txBody>
          <a:bodyPr/>
          <a:lstStyle>
            <a:lvl1pPr marL="0" indent="0">
              <a:lnSpc>
                <a:spcPct val="100000"/>
              </a:lnSpc>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23" name="Textplatzhalter 22">
            <a:extLst>
              <a:ext uri="{FF2B5EF4-FFF2-40B4-BE49-F238E27FC236}">
                <a16:creationId xmlns:a16="http://schemas.microsoft.com/office/drawing/2014/main" id="{442934B4-71EF-4A60-981A-811BA776E6D3}"/>
              </a:ext>
            </a:extLst>
          </p:cNvPr>
          <p:cNvSpPr>
            <a:spLocks noGrp="1"/>
          </p:cNvSpPr>
          <p:nvPr>
            <p:ph type="body" sz="quarter" idx="36" hasCustomPrompt="1"/>
          </p:nvPr>
        </p:nvSpPr>
        <p:spPr bwMode="gray">
          <a:xfrm>
            <a:off x="911424" y="2276896"/>
            <a:ext cx="216000" cy="216000"/>
          </a:xfrm>
          <a:custGeom>
            <a:avLst/>
            <a:gdLst/>
            <a:ahLst/>
            <a:cxnLst/>
            <a:rect l="l" t="t" r="r" b="b"/>
            <a:pathLst>
              <a:path w="360000" h="360000">
                <a:moveTo>
                  <a:pt x="185674" y="85465"/>
                </a:moveTo>
                <a:cubicBezTo>
                  <a:pt x="181593" y="93712"/>
                  <a:pt x="174648" y="102220"/>
                  <a:pt x="164838" y="110989"/>
                </a:cubicBezTo>
                <a:cubicBezTo>
                  <a:pt x="155028" y="119757"/>
                  <a:pt x="143568" y="127223"/>
                  <a:pt x="130459" y="133387"/>
                </a:cubicBezTo>
                <a:lnTo>
                  <a:pt x="130459" y="156046"/>
                </a:lnTo>
                <a:cubicBezTo>
                  <a:pt x="137751" y="153355"/>
                  <a:pt x="145977" y="149318"/>
                  <a:pt x="155136" y="143935"/>
                </a:cubicBezTo>
                <a:cubicBezTo>
                  <a:pt x="164295" y="138553"/>
                  <a:pt x="171696" y="133170"/>
                  <a:pt x="177339" y="127787"/>
                </a:cubicBezTo>
                <a:lnTo>
                  <a:pt x="177339" y="277155"/>
                </a:lnTo>
                <a:lnTo>
                  <a:pt x="200780" y="277155"/>
                </a:lnTo>
                <a:lnTo>
                  <a:pt x="200780" y="85465"/>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7" name="Textplatzhalter 26">
            <a:extLst>
              <a:ext uri="{FF2B5EF4-FFF2-40B4-BE49-F238E27FC236}">
                <a16:creationId xmlns:a16="http://schemas.microsoft.com/office/drawing/2014/main" id="{8E7EB96F-1BED-4B46-A752-FC0705FA4B41}"/>
              </a:ext>
            </a:extLst>
          </p:cNvPr>
          <p:cNvSpPr>
            <a:spLocks noGrp="1"/>
          </p:cNvSpPr>
          <p:nvPr>
            <p:ph type="body" sz="quarter" idx="37" hasCustomPrompt="1"/>
          </p:nvPr>
        </p:nvSpPr>
        <p:spPr bwMode="gray">
          <a:xfrm>
            <a:off x="4655840" y="2276896"/>
            <a:ext cx="216000" cy="216000"/>
          </a:xfrm>
          <a:custGeom>
            <a:avLst/>
            <a:gdLst/>
            <a:ahLst/>
            <a:cxnLst/>
            <a:rect l="l" t="t" r="r" b="b"/>
            <a:pathLst>
              <a:path w="360000" h="360000">
                <a:moveTo>
                  <a:pt x="175907" y="85465"/>
                </a:moveTo>
                <a:cubicBezTo>
                  <a:pt x="157763" y="85465"/>
                  <a:pt x="143308" y="90174"/>
                  <a:pt x="132542" y="99594"/>
                </a:cubicBezTo>
                <a:cubicBezTo>
                  <a:pt x="121777" y="109013"/>
                  <a:pt x="115570" y="122709"/>
                  <a:pt x="113920" y="140680"/>
                </a:cubicBezTo>
                <a:lnTo>
                  <a:pt x="138012" y="143154"/>
                </a:lnTo>
                <a:cubicBezTo>
                  <a:pt x="138099" y="131173"/>
                  <a:pt x="141528" y="121797"/>
                  <a:pt x="148300" y="115025"/>
                </a:cubicBezTo>
                <a:cubicBezTo>
                  <a:pt x="155071" y="108254"/>
                  <a:pt x="164100" y="104868"/>
                  <a:pt x="175386" y="104868"/>
                </a:cubicBezTo>
                <a:cubicBezTo>
                  <a:pt x="186065" y="104868"/>
                  <a:pt x="194725" y="108058"/>
                  <a:pt x="201366" y="114439"/>
                </a:cubicBezTo>
                <a:cubicBezTo>
                  <a:pt x="208008" y="120820"/>
                  <a:pt x="211328" y="128656"/>
                  <a:pt x="211328" y="137945"/>
                </a:cubicBezTo>
                <a:cubicBezTo>
                  <a:pt x="211328" y="146800"/>
                  <a:pt x="207682" y="156198"/>
                  <a:pt x="200389" y="166139"/>
                </a:cubicBezTo>
                <a:cubicBezTo>
                  <a:pt x="193097" y="176079"/>
                  <a:pt x="179076" y="189557"/>
                  <a:pt x="158327" y="206573"/>
                </a:cubicBezTo>
                <a:cubicBezTo>
                  <a:pt x="144957" y="217512"/>
                  <a:pt x="134735" y="227149"/>
                  <a:pt x="127659" y="235483"/>
                </a:cubicBezTo>
                <a:cubicBezTo>
                  <a:pt x="120583" y="243818"/>
                  <a:pt x="115440" y="252282"/>
                  <a:pt x="112227" y="260877"/>
                </a:cubicBezTo>
                <a:cubicBezTo>
                  <a:pt x="110231" y="266086"/>
                  <a:pt x="109319" y="271512"/>
                  <a:pt x="109493" y="277155"/>
                </a:cubicBezTo>
                <a:lnTo>
                  <a:pt x="235680" y="277155"/>
                </a:lnTo>
                <a:lnTo>
                  <a:pt x="235680" y="254626"/>
                </a:lnTo>
                <a:lnTo>
                  <a:pt x="142049" y="254626"/>
                </a:lnTo>
                <a:cubicBezTo>
                  <a:pt x="144653" y="250372"/>
                  <a:pt x="147952" y="246140"/>
                  <a:pt x="151946" y="241929"/>
                </a:cubicBezTo>
                <a:cubicBezTo>
                  <a:pt x="155939" y="237719"/>
                  <a:pt x="164968" y="229710"/>
                  <a:pt x="179033" y="217903"/>
                </a:cubicBezTo>
                <a:cubicBezTo>
                  <a:pt x="195875" y="203665"/>
                  <a:pt x="207921" y="192466"/>
                  <a:pt x="215170" y="184305"/>
                </a:cubicBezTo>
                <a:cubicBezTo>
                  <a:pt x="222419" y="176144"/>
                  <a:pt x="227606" y="168374"/>
                  <a:pt x="230732" y="160995"/>
                </a:cubicBezTo>
                <a:cubicBezTo>
                  <a:pt x="233857" y="153615"/>
                  <a:pt x="235420" y="146106"/>
                  <a:pt x="235420" y="138466"/>
                </a:cubicBezTo>
                <a:cubicBezTo>
                  <a:pt x="235420" y="123447"/>
                  <a:pt x="230081" y="110858"/>
                  <a:pt x="219402" y="100701"/>
                </a:cubicBezTo>
                <a:cubicBezTo>
                  <a:pt x="208724" y="90543"/>
                  <a:pt x="194225" y="85465"/>
                  <a:pt x="175907" y="8546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8" name="Textplatzhalter 27">
            <a:extLst>
              <a:ext uri="{FF2B5EF4-FFF2-40B4-BE49-F238E27FC236}">
                <a16:creationId xmlns:a16="http://schemas.microsoft.com/office/drawing/2014/main" id="{12DB56DC-AF63-43EB-B289-CBACDB84D0E9}"/>
              </a:ext>
            </a:extLst>
          </p:cNvPr>
          <p:cNvSpPr>
            <a:spLocks noGrp="1"/>
          </p:cNvSpPr>
          <p:nvPr>
            <p:ph type="body" sz="quarter" idx="38" hasCustomPrompt="1"/>
          </p:nvPr>
        </p:nvSpPr>
        <p:spPr bwMode="gray">
          <a:xfrm>
            <a:off x="8400256" y="2276876"/>
            <a:ext cx="216000" cy="216000"/>
          </a:xfrm>
          <a:custGeom>
            <a:avLst/>
            <a:gdLst/>
            <a:ahLst/>
            <a:cxnLst/>
            <a:rect l="l" t="t" r="r" b="b"/>
            <a:pathLst>
              <a:path w="360000" h="360000">
                <a:moveTo>
                  <a:pt x="172371" y="85485"/>
                </a:moveTo>
                <a:cubicBezTo>
                  <a:pt x="157265" y="85485"/>
                  <a:pt x="144633" y="89804"/>
                  <a:pt x="134476" y="98442"/>
                </a:cubicBezTo>
                <a:cubicBezTo>
                  <a:pt x="124318" y="107080"/>
                  <a:pt x="117807" y="119256"/>
                  <a:pt x="114942" y="134970"/>
                </a:cubicBezTo>
                <a:lnTo>
                  <a:pt x="138382" y="139137"/>
                </a:lnTo>
                <a:cubicBezTo>
                  <a:pt x="140119" y="127677"/>
                  <a:pt x="144025" y="119082"/>
                  <a:pt x="150102" y="113353"/>
                </a:cubicBezTo>
                <a:cubicBezTo>
                  <a:pt x="156180" y="107623"/>
                  <a:pt x="163776" y="104758"/>
                  <a:pt x="172892" y="104758"/>
                </a:cubicBezTo>
                <a:cubicBezTo>
                  <a:pt x="182094" y="104758"/>
                  <a:pt x="189604" y="107579"/>
                  <a:pt x="195421" y="113222"/>
                </a:cubicBezTo>
                <a:cubicBezTo>
                  <a:pt x="201237" y="118865"/>
                  <a:pt x="204146" y="125984"/>
                  <a:pt x="204146" y="134579"/>
                </a:cubicBezTo>
                <a:cubicBezTo>
                  <a:pt x="204146" y="145431"/>
                  <a:pt x="200152" y="153462"/>
                  <a:pt x="192165" y="158671"/>
                </a:cubicBezTo>
                <a:cubicBezTo>
                  <a:pt x="184178" y="163880"/>
                  <a:pt x="175192" y="166484"/>
                  <a:pt x="165209" y="166484"/>
                </a:cubicBezTo>
                <a:cubicBezTo>
                  <a:pt x="164254" y="166484"/>
                  <a:pt x="162995" y="166397"/>
                  <a:pt x="161432" y="166224"/>
                </a:cubicBezTo>
                <a:lnTo>
                  <a:pt x="158828" y="186799"/>
                </a:lnTo>
                <a:cubicBezTo>
                  <a:pt x="165426" y="185063"/>
                  <a:pt x="170938" y="184195"/>
                  <a:pt x="175366" y="184195"/>
                </a:cubicBezTo>
                <a:cubicBezTo>
                  <a:pt x="186218" y="184195"/>
                  <a:pt x="195160" y="187689"/>
                  <a:pt x="202192" y="194678"/>
                </a:cubicBezTo>
                <a:cubicBezTo>
                  <a:pt x="209224" y="201667"/>
                  <a:pt x="212741" y="210544"/>
                  <a:pt x="212741" y="221309"/>
                </a:cubicBezTo>
                <a:cubicBezTo>
                  <a:pt x="212741" y="232595"/>
                  <a:pt x="208942" y="242058"/>
                  <a:pt x="201346" y="249698"/>
                </a:cubicBezTo>
                <a:cubicBezTo>
                  <a:pt x="193749" y="257338"/>
                  <a:pt x="184438" y="261158"/>
                  <a:pt x="173413" y="261158"/>
                </a:cubicBezTo>
                <a:cubicBezTo>
                  <a:pt x="164123" y="261158"/>
                  <a:pt x="156245" y="258227"/>
                  <a:pt x="149777" y="252367"/>
                </a:cubicBezTo>
                <a:cubicBezTo>
                  <a:pt x="143309" y="246507"/>
                  <a:pt x="138730" y="236936"/>
                  <a:pt x="136038" y="223653"/>
                </a:cubicBezTo>
                <a:lnTo>
                  <a:pt x="112598" y="226778"/>
                </a:lnTo>
                <a:cubicBezTo>
                  <a:pt x="114161" y="242666"/>
                  <a:pt x="120476" y="255601"/>
                  <a:pt x="131546" y="265585"/>
                </a:cubicBezTo>
                <a:cubicBezTo>
                  <a:pt x="142615" y="275569"/>
                  <a:pt x="156527" y="280561"/>
                  <a:pt x="173282" y="280561"/>
                </a:cubicBezTo>
                <a:cubicBezTo>
                  <a:pt x="191861" y="280561"/>
                  <a:pt x="207228" y="274766"/>
                  <a:pt x="219382" y="263176"/>
                </a:cubicBezTo>
                <a:cubicBezTo>
                  <a:pt x="231536" y="251586"/>
                  <a:pt x="237613" y="237457"/>
                  <a:pt x="237613" y="220788"/>
                </a:cubicBezTo>
                <a:cubicBezTo>
                  <a:pt x="237613" y="208460"/>
                  <a:pt x="234488" y="198194"/>
                  <a:pt x="228237" y="189990"/>
                </a:cubicBezTo>
                <a:cubicBezTo>
                  <a:pt x="221986" y="181786"/>
                  <a:pt x="213218" y="176381"/>
                  <a:pt x="201932" y="173777"/>
                </a:cubicBezTo>
                <a:cubicBezTo>
                  <a:pt x="210614" y="169783"/>
                  <a:pt x="217168" y="164401"/>
                  <a:pt x="221596" y="157629"/>
                </a:cubicBezTo>
                <a:cubicBezTo>
                  <a:pt x="226023" y="150857"/>
                  <a:pt x="228237" y="143348"/>
                  <a:pt x="228237" y="135100"/>
                </a:cubicBezTo>
                <a:cubicBezTo>
                  <a:pt x="228237" y="126418"/>
                  <a:pt x="225915" y="118214"/>
                  <a:pt x="221270" y="110488"/>
                </a:cubicBezTo>
                <a:cubicBezTo>
                  <a:pt x="216626" y="102761"/>
                  <a:pt x="209919" y="96662"/>
                  <a:pt x="201151" y="92191"/>
                </a:cubicBezTo>
                <a:cubicBezTo>
                  <a:pt x="192382" y="87720"/>
                  <a:pt x="182789" y="85485"/>
                  <a:pt x="172371" y="8548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29" name="Textplatzhalter 4">
            <a:extLst>
              <a:ext uri="{FF2B5EF4-FFF2-40B4-BE49-F238E27FC236}">
                <a16:creationId xmlns:a16="http://schemas.microsoft.com/office/drawing/2014/main" id="{FD8631E2-4291-431C-B361-3EF530D0FE71}"/>
              </a:ext>
            </a:extLst>
          </p:cNvPr>
          <p:cNvSpPr>
            <a:spLocks noGrp="1"/>
          </p:cNvSpPr>
          <p:nvPr>
            <p:ph type="body" sz="quarter" idx="39" hasCustomPrompt="1"/>
          </p:nvPr>
        </p:nvSpPr>
        <p:spPr bwMode="gray">
          <a:xfrm>
            <a:off x="4654847" y="3717032"/>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30" name="Textplatzhalter 4">
            <a:extLst>
              <a:ext uri="{FF2B5EF4-FFF2-40B4-BE49-F238E27FC236}">
                <a16:creationId xmlns:a16="http://schemas.microsoft.com/office/drawing/2014/main" id="{318E363F-2DF7-4BA7-948F-E560E20BBDC9}"/>
              </a:ext>
            </a:extLst>
          </p:cNvPr>
          <p:cNvSpPr>
            <a:spLocks noGrp="1"/>
          </p:cNvSpPr>
          <p:nvPr>
            <p:ph type="body" sz="quarter" idx="40" hasCustomPrompt="1"/>
          </p:nvPr>
        </p:nvSpPr>
        <p:spPr bwMode="gray">
          <a:xfrm>
            <a:off x="8399263" y="3717074"/>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pic>
        <p:nvPicPr>
          <p:cNvPr id="31" name="Grafik 30">
            <a:extLst>
              <a:ext uri="{FF2B5EF4-FFF2-40B4-BE49-F238E27FC236}">
                <a16:creationId xmlns:a16="http://schemas.microsoft.com/office/drawing/2014/main" id="{C764CFC0-47AF-4924-AC0C-AE34BEB323B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07368" y="404813"/>
            <a:ext cx="216241" cy="216000"/>
          </a:xfrm>
          <a:prstGeom prst="rect">
            <a:avLst/>
          </a:prstGeom>
        </p:spPr>
      </p:pic>
    </p:spTree>
    <p:extLst>
      <p:ext uri="{BB962C8B-B14F-4D97-AF65-F5344CB8AC3E}">
        <p14:creationId xmlns:p14="http://schemas.microsoft.com/office/powerpoint/2010/main" val="2398292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ong agenda 6 points">
    <p:bg>
      <p:bgPr>
        <a:solidFill>
          <a:schemeClr val="accent3"/>
        </a:solidFill>
        <a:effectLst/>
      </p:bgPr>
    </p:bg>
    <p:spTree>
      <p:nvGrpSpPr>
        <p:cNvPr id="1" name=""/>
        <p:cNvGrpSpPr/>
        <p:nvPr/>
      </p:nvGrpSpPr>
      <p:grpSpPr>
        <a:xfrm>
          <a:off x="0" y="0"/>
          <a:ext cx="0" cy="0"/>
          <a:chOff x="0" y="0"/>
          <a:chExt cx="0" cy="0"/>
        </a:xfrm>
      </p:grpSpPr>
      <p:sp>
        <p:nvSpPr>
          <p:cNvPr id="19" name="Textplatzhalter 7">
            <a:extLst>
              <a:ext uri="{FF2B5EF4-FFF2-40B4-BE49-F238E27FC236}">
                <a16:creationId xmlns:a16="http://schemas.microsoft.com/office/drawing/2014/main" id="{B6203FE2-73DC-44BA-B6F3-62B72DFD6D8D}"/>
              </a:ext>
            </a:extLst>
          </p:cNvPr>
          <p:cNvSpPr>
            <a:spLocks noGrp="1"/>
          </p:cNvSpPr>
          <p:nvPr>
            <p:ph type="body" sz="quarter" idx="16" hasCustomPrompt="1"/>
          </p:nvPr>
        </p:nvSpPr>
        <p:spPr bwMode="black">
          <a:xfrm>
            <a:off x="911225" y="1052808"/>
            <a:ext cx="2881313" cy="720000"/>
          </a:xfrm>
        </p:spPr>
        <p:txBody>
          <a:bodyPr anchor="b"/>
          <a:lstStyle>
            <a:lvl1pPr marL="0" indent="0">
              <a:buFont typeface="Arial" panose="020B0604020202020204" pitchFamily="34" charset="0"/>
              <a:buNone/>
              <a:defRPr sz="2100" b="0">
                <a:solidFill>
                  <a:schemeClr val="bg1"/>
                </a:solidFill>
              </a:defRPr>
            </a:lvl1pPr>
            <a:lvl2pPr marL="0" indent="0">
              <a:buFont typeface="Arial" panose="020B0604020202020204" pitchFamily="34" charset="0"/>
              <a:buNone/>
              <a:defRPr sz="2100" b="0">
                <a:solidFill>
                  <a:schemeClr val="bg1"/>
                </a:solidFill>
              </a:defRPr>
            </a:lvl2pPr>
            <a:lvl3pPr marL="0" indent="0">
              <a:buNone/>
              <a:defRPr sz="2100" b="0">
                <a:solidFill>
                  <a:schemeClr val="bg1"/>
                </a:solidFill>
              </a:defRPr>
            </a:lvl3pPr>
            <a:lvl4pPr marL="0" indent="0">
              <a:buNone/>
              <a:defRPr sz="2100" b="0">
                <a:solidFill>
                  <a:schemeClr val="bg1"/>
                </a:solidFill>
              </a:defRPr>
            </a:lvl4pPr>
            <a:lvl5pPr marL="0" indent="0">
              <a:buNone/>
              <a:defRPr sz="2100" b="0">
                <a:solidFill>
                  <a:schemeClr val="bg1"/>
                </a:solidFill>
              </a:defRPr>
            </a:lvl5pPr>
            <a:lvl6pPr marL="0" indent="0">
              <a:buNone/>
              <a:defRPr sz="2100" b="0">
                <a:solidFill>
                  <a:schemeClr val="bg1"/>
                </a:solidFill>
              </a:defRPr>
            </a:lvl6pPr>
            <a:lvl7pPr marL="0" indent="0">
              <a:buNone/>
              <a:defRPr sz="2100" b="0">
                <a:solidFill>
                  <a:schemeClr val="bg1"/>
                </a:solidFill>
              </a:defRPr>
            </a:lvl7pPr>
            <a:lvl8pPr marL="0" indent="0">
              <a:buNone/>
              <a:defRPr sz="2100" b="0">
                <a:solidFill>
                  <a:schemeClr val="bg1"/>
                </a:solidFill>
              </a:defRPr>
            </a:lvl8pPr>
            <a:lvl9pPr marL="0" indent="0">
              <a:buNone/>
              <a:defRPr sz="2100" b="0">
                <a:solidFill>
                  <a:schemeClr val="bg1"/>
                </a:solidFill>
              </a:defRPr>
            </a:lvl9pPr>
          </a:lstStyle>
          <a:p>
            <a:pPr lvl="0"/>
            <a:r>
              <a:rPr lang="en-US" noProof="0"/>
              <a:t>First agenda point</a:t>
            </a:r>
          </a:p>
        </p:txBody>
      </p:sp>
      <p:sp>
        <p:nvSpPr>
          <p:cNvPr id="20" name="Textplatzhalter 7">
            <a:extLst>
              <a:ext uri="{FF2B5EF4-FFF2-40B4-BE49-F238E27FC236}">
                <a16:creationId xmlns:a16="http://schemas.microsoft.com/office/drawing/2014/main" id="{57982D12-3797-4BCF-9C07-45C3F2C5B2DC}"/>
              </a:ext>
            </a:extLst>
          </p:cNvPr>
          <p:cNvSpPr>
            <a:spLocks noGrp="1"/>
          </p:cNvSpPr>
          <p:nvPr>
            <p:ph type="body" sz="quarter" idx="17" hasCustomPrompt="1"/>
          </p:nvPr>
        </p:nvSpPr>
        <p:spPr bwMode="black">
          <a:xfrm>
            <a:off x="4654847" y="1053925"/>
            <a:ext cx="2881313" cy="720000"/>
          </a:xfrm>
        </p:spPr>
        <p:txBody>
          <a:bodyPr anchor="b"/>
          <a:lstStyle>
            <a:lvl1pPr marL="0" indent="0">
              <a:buFont typeface="Arial" panose="020B0604020202020204" pitchFamily="34" charset="0"/>
              <a:buNone/>
              <a:defRPr sz="2100" b="0">
                <a:solidFill>
                  <a:schemeClr val="bg1"/>
                </a:solidFill>
              </a:defRPr>
            </a:lvl1pPr>
            <a:lvl2pPr marL="0" indent="0">
              <a:buFont typeface="Arial" panose="020B0604020202020204" pitchFamily="34" charset="0"/>
              <a:buNone/>
              <a:defRPr sz="2100" b="0">
                <a:solidFill>
                  <a:schemeClr val="bg1"/>
                </a:solidFill>
              </a:defRPr>
            </a:lvl2pPr>
            <a:lvl3pPr marL="0" indent="0">
              <a:buNone/>
              <a:defRPr sz="2100" b="0">
                <a:solidFill>
                  <a:schemeClr val="bg1"/>
                </a:solidFill>
              </a:defRPr>
            </a:lvl3pPr>
            <a:lvl4pPr marL="0" indent="0">
              <a:buNone/>
              <a:defRPr sz="2100" b="0">
                <a:solidFill>
                  <a:schemeClr val="bg1"/>
                </a:solidFill>
              </a:defRPr>
            </a:lvl4pPr>
            <a:lvl5pPr marL="0" indent="0">
              <a:buNone/>
              <a:defRPr sz="2100" b="0">
                <a:solidFill>
                  <a:schemeClr val="bg1"/>
                </a:solidFill>
              </a:defRPr>
            </a:lvl5pPr>
            <a:lvl6pPr marL="0" indent="0">
              <a:buNone/>
              <a:defRPr sz="2100" b="0">
                <a:solidFill>
                  <a:schemeClr val="bg1"/>
                </a:solidFill>
              </a:defRPr>
            </a:lvl6pPr>
            <a:lvl7pPr marL="0" indent="0">
              <a:buNone/>
              <a:defRPr sz="2100" b="0">
                <a:solidFill>
                  <a:schemeClr val="bg1"/>
                </a:solidFill>
              </a:defRPr>
            </a:lvl7pPr>
            <a:lvl8pPr marL="0" indent="0">
              <a:buNone/>
              <a:defRPr sz="2100" b="0">
                <a:solidFill>
                  <a:schemeClr val="bg1"/>
                </a:solidFill>
              </a:defRPr>
            </a:lvl8pPr>
            <a:lvl9pPr marL="0" indent="0">
              <a:buNone/>
              <a:defRPr sz="2100" b="0">
                <a:solidFill>
                  <a:schemeClr val="bg1"/>
                </a:solidFill>
              </a:defRPr>
            </a:lvl9pPr>
          </a:lstStyle>
          <a:p>
            <a:pPr lvl="0"/>
            <a:r>
              <a:rPr lang="en-US" noProof="0"/>
              <a:t>Second agenda point</a:t>
            </a:r>
          </a:p>
        </p:txBody>
      </p:sp>
      <p:sp>
        <p:nvSpPr>
          <p:cNvPr id="21" name="Textplatzhalter 7">
            <a:extLst>
              <a:ext uri="{FF2B5EF4-FFF2-40B4-BE49-F238E27FC236}">
                <a16:creationId xmlns:a16="http://schemas.microsoft.com/office/drawing/2014/main" id="{C4F002BD-8FC8-4516-ADE5-2B7D021B1982}"/>
              </a:ext>
            </a:extLst>
          </p:cNvPr>
          <p:cNvSpPr>
            <a:spLocks noGrp="1"/>
          </p:cNvSpPr>
          <p:nvPr>
            <p:ph type="body" sz="quarter" idx="18" hasCustomPrompt="1"/>
          </p:nvPr>
        </p:nvSpPr>
        <p:spPr bwMode="black">
          <a:xfrm>
            <a:off x="8400256" y="1055042"/>
            <a:ext cx="2881313" cy="720000"/>
          </a:xfrm>
        </p:spPr>
        <p:txBody>
          <a:bodyPr anchor="b"/>
          <a:lstStyle>
            <a:lvl1pPr marL="0" indent="0">
              <a:buFont typeface="Arial" panose="020B0604020202020204" pitchFamily="34" charset="0"/>
              <a:buNone/>
              <a:defRPr sz="2100" b="0">
                <a:solidFill>
                  <a:schemeClr val="bg1"/>
                </a:solidFill>
              </a:defRPr>
            </a:lvl1pPr>
            <a:lvl2pPr marL="0" indent="0">
              <a:buFont typeface="Arial" panose="020B0604020202020204" pitchFamily="34" charset="0"/>
              <a:buNone/>
              <a:defRPr sz="2100" b="0">
                <a:solidFill>
                  <a:schemeClr val="bg1"/>
                </a:solidFill>
              </a:defRPr>
            </a:lvl2pPr>
            <a:lvl3pPr marL="0" indent="0">
              <a:buNone/>
              <a:defRPr sz="2100" b="0">
                <a:solidFill>
                  <a:schemeClr val="bg1"/>
                </a:solidFill>
              </a:defRPr>
            </a:lvl3pPr>
            <a:lvl4pPr marL="0" indent="0">
              <a:buNone/>
              <a:defRPr sz="2100" b="0">
                <a:solidFill>
                  <a:schemeClr val="bg1"/>
                </a:solidFill>
              </a:defRPr>
            </a:lvl4pPr>
            <a:lvl5pPr marL="0" indent="0">
              <a:buNone/>
              <a:defRPr sz="2100" b="0">
                <a:solidFill>
                  <a:schemeClr val="bg1"/>
                </a:solidFill>
              </a:defRPr>
            </a:lvl5pPr>
            <a:lvl6pPr marL="0" indent="0">
              <a:buNone/>
              <a:defRPr sz="2100" b="0">
                <a:solidFill>
                  <a:schemeClr val="bg1"/>
                </a:solidFill>
              </a:defRPr>
            </a:lvl6pPr>
            <a:lvl7pPr marL="0" indent="0">
              <a:buNone/>
              <a:defRPr sz="2100" b="0">
                <a:solidFill>
                  <a:schemeClr val="bg1"/>
                </a:solidFill>
              </a:defRPr>
            </a:lvl7pPr>
            <a:lvl8pPr marL="0" indent="0">
              <a:buNone/>
              <a:defRPr sz="2100" b="0">
                <a:solidFill>
                  <a:schemeClr val="bg1"/>
                </a:solidFill>
              </a:defRPr>
            </a:lvl8pPr>
            <a:lvl9pPr marL="0" indent="0">
              <a:buNone/>
              <a:defRPr sz="2100" b="0">
                <a:solidFill>
                  <a:schemeClr val="bg1"/>
                </a:solidFill>
              </a:defRPr>
            </a:lvl9pPr>
          </a:lstStyle>
          <a:p>
            <a:pPr lvl="0"/>
            <a:r>
              <a:rPr lang="en-US" noProof="0"/>
              <a:t>Third agenda point</a:t>
            </a:r>
          </a:p>
        </p:txBody>
      </p:sp>
      <p:sp>
        <p:nvSpPr>
          <p:cNvPr id="23" name="Textplatzhalter 14">
            <a:extLst>
              <a:ext uri="{FF2B5EF4-FFF2-40B4-BE49-F238E27FC236}">
                <a16:creationId xmlns:a16="http://schemas.microsoft.com/office/drawing/2014/main" id="{5F1EE3D3-EE11-4BC3-BC80-5E6D74CA7700}"/>
              </a:ext>
            </a:extLst>
          </p:cNvPr>
          <p:cNvSpPr>
            <a:spLocks noGrp="1"/>
          </p:cNvSpPr>
          <p:nvPr>
            <p:ph type="body" sz="quarter" idx="22" hasCustomPrompt="1"/>
          </p:nvPr>
        </p:nvSpPr>
        <p:spPr bwMode="black">
          <a:xfrm>
            <a:off x="910033" y="2135146"/>
            <a:ext cx="2881114" cy="1152000"/>
          </a:xfrm>
        </p:spPr>
        <p:txBody>
          <a:bodyPr/>
          <a:lstStyle>
            <a:lvl1pPr marL="0" indent="0">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24" name="Textplatzhalter 14">
            <a:extLst>
              <a:ext uri="{FF2B5EF4-FFF2-40B4-BE49-F238E27FC236}">
                <a16:creationId xmlns:a16="http://schemas.microsoft.com/office/drawing/2014/main" id="{20925C97-E973-4B76-BD73-DDEE7EE9AD9F}"/>
              </a:ext>
            </a:extLst>
          </p:cNvPr>
          <p:cNvSpPr>
            <a:spLocks noGrp="1"/>
          </p:cNvSpPr>
          <p:nvPr>
            <p:ph type="body" sz="quarter" idx="23" hasCustomPrompt="1"/>
          </p:nvPr>
        </p:nvSpPr>
        <p:spPr bwMode="black">
          <a:xfrm>
            <a:off x="4653655" y="2135018"/>
            <a:ext cx="2881114" cy="1152000"/>
          </a:xfrm>
        </p:spPr>
        <p:txBody>
          <a:bodyPr/>
          <a:lstStyle>
            <a:lvl1pPr marL="0" indent="0">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25" name="Textplatzhalter 14">
            <a:extLst>
              <a:ext uri="{FF2B5EF4-FFF2-40B4-BE49-F238E27FC236}">
                <a16:creationId xmlns:a16="http://schemas.microsoft.com/office/drawing/2014/main" id="{7278083B-E7C0-4D63-BF4D-07157E8D9345}"/>
              </a:ext>
            </a:extLst>
          </p:cNvPr>
          <p:cNvSpPr>
            <a:spLocks noGrp="1"/>
          </p:cNvSpPr>
          <p:nvPr>
            <p:ph type="body" sz="quarter" idx="24" hasCustomPrompt="1"/>
          </p:nvPr>
        </p:nvSpPr>
        <p:spPr bwMode="black">
          <a:xfrm>
            <a:off x="8398865" y="2134890"/>
            <a:ext cx="2881114" cy="1152000"/>
          </a:xfrm>
        </p:spPr>
        <p:txBody>
          <a:bodyPr/>
          <a:lstStyle>
            <a:lvl1pPr marL="0" indent="0">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31" name="Textplatzhalter 7">
            <a:extLst>
              <a:ext uri="{FF2B5EF4-FFF2-40B4-BE49-F238E27FC236}">
                <a16:creationId xmlns:a16="http://schemas.microsoft.com/office/drawing/2014/main" id="{98E35270-1D8E-4E59-B9AE-EB5E480E9AC4}"/>
              </a:ext>
            </a:extLst>
          </p:cNvPr>
          <p:cNvSpPr>
            <a:spLocks noGrp="1"/>
          </p:cNvSpPr>
          <p:nvPr>
            <p:ph type="body" sz="quarter" idx="30" hasCustomPrompt="1"/>
          </p:nvPr>
        </p:nvSpPr>
        <p:spPr bwMode="black">
          <a:xfrm>
            <a:off x="912417" y="3642942"/>
            <a:ext cx="2881313" cy="720000"/>
          </a:xfrm>
        </p:spPr>
        <p:txBody>
          <a:bodyPr anchor="b"/>
          <a:lstStyle>
            <a:lvl1pPr marL="0" indent="0">
              <a:buFont typeface="Arial" panose="020B0604020202020204" pitchFamily="34" charset="0"/>
              <a:buNone/>
              <a:defRPr sz="2100" b="0">
                <a:solidFill>
                  <a:schemeClr val="bg1"/>
                </a:solidFill>
              </a:defRPr>
            </a:lvl1pPr>
            <a:lvl2pPr marL="0" indent="0">
              <a:buFont typeface="Arial" panose="020B0604020202020204" pitchFamily="34" charset="0"/>
              <a:buNone/>
              <a:defRPr sz="2100" b="0">
                <a:solidFill>
                  <a:schemeClr val="bg1"/>
                </a:solidFill>
              </a:defRPr>
            </a:lvl2pPr>
            <a:lvl3pPr marL="0" indent="0">
              <a:buNone/>
              <a:defRPr sz="2100" b="0">
                <a:solidFill>
                  <a:schemeClr val="bg1"/>
                </a:solidFill>
              </a:defRPr>
            </a:lvl3pPr>
            <a:lvl4pPr marL="0" indent="0">
              <a:buNone/>
              <a:defRPr sz="2100" b="0">
                <a:solidFill>
                  <a:schemeClr val="bg1"/>
                </a:solidFill>
              </a:defRPr>
            </a:lvl4pPr>
            <a:lvl5pPr marL="0" indent="0">
              <a:buNone/>
              <a:defRPr sz="2100" b="0">
                <a:solidFill>
                  <a:schemeClr val="bg1"/>
                </a:solidFill>
              </a:defRPr>
            </a:lvl5pPr>
            <a:lvl6pPr marL="0" indent="0">
              <a:buNone/>
              <a:defRPr sz="2100" b="0">
                <a:solidFill>
                  <a:schemeClr val="bg1"/>
                </a:solidFill>
              </a:defRPr>
            </a:lvl6pPr>
            <a:lvl7pPr marL="0" indent="0">
              <a:buNone/>
              <a:defRPr sz="2100" b="0">
                <a:solidFill>
                  <a:schemeClr val="bg1"/>
                </a:solidFill>
              </a:defRPr>
            </a:lvl7pPr>
            <a:lvl8pPr marL="0" indent="0">
              <a:buNone/>
              <a:defRPr sz="2100" b="0">
                <a:solidFill>
                  <a:schemeClr val="bg1"/>
                </a:solidFill>
              </a:defRPr>
            </a:lvl8pPr>
            <a:lvl9pPr marL="0" indent="0">
              <a:buNone/>
              <a:defRPr sz="2100" b="0">
                <a:solidFill>
                  <a:schemeClr val="bg1"/>
                </a:solidFill>
              </a:defRPr>
            </a:lvl9pPr>
          </a:lstStyle>
          <a:p>
            <a:pPr lvl="0"/>
            <a:r>
              <a:rPr lang="en-US" noProof="0"/>
              <a:t>Fourth agenda point</a:t>
            </a:r>
          </a:p>
        </p:txBody>
      </p:sp>
      <p:sp>
        <p:nvSpPr>
          <p:cNvPr id="32" name="Textplatzhalter 7">
            <a:extLst>
              <a:ext uri="{FF2B5EF4-FFF2-40B4-BE49-F238E27FC236}">
                <a16:creationId xmlns:a16="http://schemas.microsoft.com/office/drawing/2014/main" id="{393A6695-D7FE-416A-9CDB-6E78311E9750}"/>
              </a:ext>
            </a:extLst>
          </p:cNvPr>
          <p:cNvSpPr>
            <a:spLocks noGrp="1"/>
          </p:cNvSpPr>
          <p:nvPr>
            <p:ph type="body" sz="quarter" idx="31" hasCustomPrompt="1"/>
          </p:nvPr>
        </p:nvSpPr>
        <p:spPr bwMode="black">
          <a:xfrm>
            <a:off x="4656039" y="3644059"/>
            <a:ext cx="2881313" cy="720000"/>
          </a:xfrm>
        </p:spPr>
        <p:txBody>
          <a:bodyPr anchor="b"/>
          <a:lstStyle>
            <a:lvl1pPr marL="0" indent="0">
              <a:buFont typeface="Arial" panose="020B0604020202020204" pitchFamily="34" charset="0"/>
              <a:buNone/>
              <a:defRPr sz="2100" b="0">
                <a:solidFill>
                  <a:schemeClr val="bg1"/>
                </a:solidFill>
              </a:defRPr>
            </a:lvl1pPr>
            <a:lvl2pPr marL="0" indent="0">
              <a:buFont typeface="Arial" panose="020B0604020202020204" pitchFamily="34" charset="0"/>
              <a:buNone/>
              <a:defRPr sz="2100" b="0">
                <a:solidFill>
                  <a:schemeClr val="bg1"/>
                </a:solidFill>
              </a:defRPr>
            </a:lvl2pPr>
            <a:lvl3pPr marL="0" indent="0">
              <a:buNone/>
              <a:defRPr sz="2100" b="0">
                <a:solidFill>
                  <a:schemeClr val="bg1"/>
                </a:solidFill>
              </a:defRPr>
            </a:lvl3pPr>
            <a:lvl4pPr marL="0" indent="0">
              <a:buNone/>
              <a:defRPr sz="2100" b="0">
                <a:solidFill>
                  <a:schemeClr val="bg1"/>
                </a:solidFill>
              </a:defRPr>
            </a:lvl4pPr>
            <a:lvl5pPr marL="0" indent="0">
              <a:buNone/>
              <a:defRPr sz="2100" b="0">
                <a:solidFill>
                  <a:schemeClr val="bg1"/>
                </a:solidFill>
              </a:defRPr>
            </a:lvl5pPr>
            <a:lvl6pPr marL="0" indent="0">
              <a:buNone/>
              <a:defRPr sz="2100" b="0">
                <a:solidFill>
                  <a:schemeClr val="bg1"/>
                </a:solidFill>
              </a:defRPr>
            </a:lvl6pPr>
            <a:lvl7pPr marL="0" indent="0">
              <a:buNone/>
              <a:defRPr sz="2100" b="0">
                <a:solidFill>
                  <a:schemeClr val="bg1"/>
                </a:solidFill>
              </a:defRPr>
            </a:lvl7pPr>
            <a:lvl8pPr marL="0" indent="0">
              <a:buNone/>
              <a:defRPr sz="2100" b="0">
                <a:solidFill>
                  <a:schemeClr val="bg1"/>
                </a:solidFill>
              </a:defRPr>
            </a:lvl8pPr>
            <a:lvl9pPr marL="0" indent="0">
              <a:buNone/>
              <a:defRPr sz="2100" b="0">
                <a:solidFill>
                  <a:schemeClr val="bg1"/>
                </a:solidFill>
              </a:defRPr>
            </a:lvl9pPr>
          </a:lstStyle>
          <a:p>
            <a:pPr lvl="0"/>
            <a:r>
              <a:rPr lang="en-US" noProof="0"/>
              <a:t>Fifth agenda point</a:t>
            </a:r>
          </a:p>
        </p:txBody>
      </p:sp>
      <p:sp>
        <p:nvSpPr>
          <p:cNvPr id="33" name="Textplatzhalter 7">
            <a:extLst>
              <a:ext uri="{FF2B5EF4-FFF2-40B4-BE49-F238E27FC236}">
                <a16:creationId xmlns:a16="http://schemas.microsoft.com/office/drawing/2014/main" id="{DE550246-0BFC-4BB1-A5CE-062A10EB3716}"/>
              </a:ext>
            </a:extLst>
          </p:cNvPr>
          <p:cNvSpPr>
            <a:spLocks noGrp="1"/>
          </p:cNvSpPr>
          <p:nvPr>
            <p:ph type="body" sz="quarter" idx="32" hasCustomPrompt="1"/>
          </p:nvPr>
        </p:nvSpPr>
        <p:spPr bwMode="black">
          <a:xfrm>
            <a:off x="8401448" y="3645176"/>
            <a:ext cx="2881313" cy="720000"/>
          </a:xfrm>
        </p:spPr>
        <p:txBody>
          <a:bodyPr anchor="b"/>
          <a:lstStyle>
            <a:lvl1pPr marL="0" indent="0">
              <a:buFont typeface="Arial" panose="020B0604020202020204" pitchFamily="34" charset="0"/>
              <a:buNone/>
              <a:defRPr sz="2100" b="0">
                <a:solidFill>
                  <a:schemeClr val="bg1"/>
                </a:solidFill>
              </a:defRPr>
            </a:lvl1pPr>
            <a:lvl2pPr marL="0" indent="0">
              <a:buFont typeface="Arial" panose="020B0604020202020204" pitchFamily="34" charset="0"/>
              <a:buNone/>
              <a:defRPr sz="2100" b="0">
                <a:solidFill>
                  <a:schemeClr val="bg1"/>
                </a:solidFill>
              </a:defRPr>
            </a:lvl2pPr>
            <a:lvl3pPr marL="0" indent="0">
              <a:buNone/>
              <a:defRPr sz="2100" b="0">
                <a:solidFill>
                  <a:schemeClr val="bg1"/>
                </a:solidFill>
              </a:defRPr>
            </a:lvl3pPr>
            <a:lvl4pPr marL="0" indent="0">
              <a:buNone/>
              <a:defRPr sz="2100" b="0">
                <a:solidFill>
                  <a:schemeClr val="bg1"/>
                </a:solidFill>
              </a:defRPr>
            </a:lvl4pPr>
            <a:lvl5pPr marL="0" indent="0">
              <a:buNone/>
              <a:defRPr sz="2100" b="0">
                <a:solidFill>
                  <a:schemeClr val="bg1"/>
                </a:solidFill>
              </a:defRPr>
            </a:lvl5pPr>
            <a:lvl6pPr marL="0" indent="0">
              <a:buNone/>
              <a:defRPr sz="2100" b="0">
                <a:solidFill>
                  <a:schemeClr val="bg1"/>
                </a:solidFill>
              </a:defRPr>
            </a:lvl6pPr>
            <a:lvl7pPr marL="0" indent="0">
              <a:buNone/>
              <a:defRPr sz="2100" b="0">
                <a:solidFill>
                  <a:schemeClr val="bg1"/>
                </a:solidFill>
              </a:defRPr>
            </a:lvl7pPr>
            <a:lvl8pPr marL="0" indent="0">
              <a:buNone/>
              <a:defRPr sz="2100" b="0">
                <a:solidFill>
                  <a:schemeClr val="bg1"/>
                </a:solidFill>
              </a:defRPr>
            </a:lvl8pPr>
            <a:lvl9pPr marL="0" indent="0">
              <a:buNone/>
              <a:defRPr sz="2100" b="0">
                <a:solidFill>
                  <a:schemeClr val="bg1"/>
                </a:solidFill>
              </a:defRPr>
            </a:lvl9pPr>
          </a:lstStyle>
          <a:p>
            <a:pPr lvl="0"/>
            <a:r>
              <a:rPr lang="en-US" noProof="0"/>
              <a:t>Sixth agenda point</a:t>
            </a:r>
          </a:p>
        </p:txBody>
      </p:sp>
      <p:sp>
        <p:nvSpPr>
          <p:cNvPr id="35" name="Textplatzhalter 14">
            <a:extLst>
              <a:ext uri="{FF2B5EF4-FFF2-40B4-BE49-F238E27FC236}">
                <a16:creationId xmlns:a16="http://schemas.microsoft.com/office/drawing/2014/main" id="{38AAACAC-41AC-4504-B646-C505F150C805}"/>
              </a:ext>
            </a:extLst>
          </p:cNvPr>
          <p:cNvSpPr>
            <a:spLocks noGrp="1"/>
          </p:cNvSpPr>
          <p:nvPr>
            <p:ph type="body" sz="quarter" idx="34" hasCustomPrompt="1"/>
          </p:nvPr>
        </p:nvSpPr>
        <p:spPr bwMode="black">
          <a:xfrm>
            <a:off x="912616" y="4725280"/>
            <a:ext cx="2881114" cy="1152000"/>
          </a:xfrm>
        </p:spPr>
        <p:txBody>
          <a:bodyPr/>
          <a:lstStyle>
            <a:lvl1pPr marL="0" indent="0">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36" name="Textplatzhalter 14">
            <a:extLst>
              <a:ext uri="{FF2B5EF4-FFF2-40B4-BE49-F238E27FC236}">
                <a16:creationId xmlns:a16="http://schemas.microsoft.com/office/drawing/2014/main" id="{8B45A32E-4F11-4C7F-928E-A99B0F0F7958}"/>
              </a:ext>
            </a:extLst>
          </p:cNvPr>
          <p:cNvSpPr>
            <a:spLocks noGrp="1"/>
          </p:cNvSpPr>
          <p:nvPr>
            <p:ph type="body" sz="quarter" idx="35" hasCustomPrompt="1"/>
          </p:nvPr>
        </p:nvSpPr>
        <p:spPr bwMode="black">
          <a:xfrm>
            <a:off x="4654847" y="4725152"/>
            <a:ext cx="2881114" cy="1152000"/>
          </a:xfrm>
        </p:spPr>
        <p:txBody>
          <a:bodyPr/>
          <a:lstStyle>
            <a:lvl1pPr marL="0" indent="0">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37" name="Textplatzhalter 14">
            <a:extLst>
              <a:ext uri="{FF2B5EF4-FFF2-40B4-BE49-F238E27FC236}">
                <a16:creationId xmlns:a16="http://schemas.microsoft.com/office/drawing/2014/main" id="{59739B57-E117-4286-B66F-46F79CA4EDEA}"/>
              </a:ext>
            </a:extLst>
          </p:cNvPr>
          <p:cNvSpPr>
            <a:spLocks noGrp="1"/>
          </p:cNvSpPr>
          <p:nvPr>
            <p:ph type="body" sz="quarter" idx="36" hasCustomPrompt="1"/>
          </p:nvPr>
        </p:nvSpPr>
        <p:spPr bwMode="black">
          <a:xfrm>
            <a:off x="8400057" y="4725024"/>
            <a:ext cx="2881114" cy="1152000"/>
          </a:xfrm>
        </p:spPr>
        <p:txBody>
          <a:bodyPr/>
          <a:lstStyle>
            <a:lvl1pPr marL="0" indent="0">
              <a:spcBef>
                <a:spcPts val="0"/>
              </a:spcBef>
              <a:spcAft>
                <a:spcPts val="0"/>
              </a:spcAft>
              <a:buFont typeface="Arial" panose="020B0604020202020204" pitchFamily="34" charset="0"/>
              <a:buNone/>
              <a:defRPr b="0">
                <a:solidFill>
                  <a:schemeClr val="bg2"/>
                </a:solidFill>
              </a:defRPr>
            </a:lvl1pPr>
            <a:lvl2pPr marL="0" indent="0">
              <a:spcBef>
                <a:spcPts val="0"/>
              </a:spcBef>
              <a:spcAft>
                <a:spcPts val="0"/>
              </a:spcAft>
              <a:buFont typeface="Arial" panose="020B0604020202020204" pitchFamily="34" charset="0"/>
              <a:buNone/>
              <a:defRPr b="0">
                <a:solidFill>
                  <a:schemeClr val="bg2"/>
                </a:solidFill>
              </a:defRPr>
            </a:lvl2pPr>
            <a:lvl3pPr marL="0" indent="0">
              <a:spcBef>
                <a:spcPts val="0"/>
              </a:spcBef>
              <a:spcAft>
                <a:spcPts val="0"/>
              </a:spcAft>
              <a:buNone/>
              <a:defRPr b="0">
                <a:solidFill>
                  <a:schemeClr val="bg2"/>
                </a:solidFill>
              </a:defRPr>
            </a:lvl3pPr>
            <a:lvl4pPr marL="0" indent="0">
              <a:spcBef>
                <a:spcPts val="0"/>
              </a:spcBef>
              <a:spcAft>
                <a:spcPts val="0"/>
              </a:spcAft>
              <a:buNone/>
              <a:defRPr b="0">
                <a:solidFill>
                  <a:schemeClr val="bg2"/>
                </a:solidFill>
              </a:defRPr>
            </a:lvl4pPr>
            <a:lvl5pPr marL="0" indent="0">
              <a:spcBef>
                <a:spcPts val="0"/>
              </a:spcBef>
              <a:spcAft>
                <a:spcPts val="0"/>
              </a:spcAft>
              <a:buNone/>
              <a:defRPr b="0">
                <a:solidFill>
                  <a:schemeClr val="bg2"/>
                </a:solidFill>
              </a:defRPr>
            </a:lvl5pPr>
            <a:lvl6pPr marL="0" indent="0">
              <a:spcBef>
                <a:spcPts val="0"/>
              </a:spcBef>
              <a:spcAft>
                <a:spcPts val="0"/>
              </a:spcAft>
              <a:buNone/>
              <a:defRPr b="0">
                <a:solidFill>
                  <a:schemeClr val="bg2"/>
                </a:solidFill>
              </a:defRPr>
            </a:lvl6pPr>
            <a:lvl7pPr marL="0" indent="0">
              <a:spcBef>
                <a:spcPts val="0"/>
              </a:spcBef>
              <a:spcAft>
                <a:spcPts val="0"/>
              </a:spcAft>
              <a:buNone/>
              <a:defRPr b="0">
                <a:solidFill>
                  <a:schemeClr val="bg2"/>
                </a:solidFill>
              </a:defRPr>
            </a:lvl7pPr>
            <a:lvl8pPr marL="0" indent="0">
              <a:spcBef>
                <a:spcPts val="0"/>
              </a:spcBef>
              <a:spcAft>
                <a:spcPts val="0"/>
              </a:spcAft>
              <a:buNone/>
              <a:defRPr b="0">
                <a:solidFill>
                  <a:schemeClr val="bg2"/>
                </a:solidFill>
              </a:defRPr>
            </a:lvl8pPr>
            <a:lvl9pPr marL="0" indent="0">
              <a:spcBef>
                <a:spcPts val="0"/>
              </a:spcBef>
              <a:spcAft>
                <a:spcPts val="0"/>
              </a:spcAft>
              <a:buNone/>
              <a:defRPr b="0">
                <a:solidFill>
                  <a:schemeClr val="bg2"/>
                </a:solidFill>
              </a:defRPr>
            </a:lvl9pPr>
          </a:lstStyle>
          <a:p>
            <a:pPr lvl="0"/>
            <a:r>
              <a:rPr lang="en-US" noProof="0"/>
              <a:t>Click to add a text</a:t>
            </a:r>
          </a:p>
        </p:txBody>
      </p:sp>
      <p:sp>
        <p:nvSpPr>
          <p:cNvPr id="34" name="Textplatzhalter 33">
            <a:extLst>
              <a:ext uri="{FF2B5EF4-FFF2-40B4-BE49-F238E27FC236}">
                <a16:creationId xmlns:a16="http://schemas.microsoft.com/office/drawing/2014/main" id="{585A9C2C-4A80-4797-BE96-C4BEC1C5CA37}"/>
              </a:ext>
            </a:extLst>
          </p:cNvPr>
          <p:cNvSpPr>
            <a:spLocks noGrp="1"/>
          </p:cNvSpPr>
          <p:nvPr>
            <p:ph type="body" sz="quarter" idx="42" hasCustomPrompt="1"/>
          </p:nvPr>
        </p:nvSpPr>
        <p:spPr bwMode="gray">
          <a:xfrm>
            <a:off x="911424" y="836736"/>
            <a:ext cx="216000" cy="216000"/>
          </a:xfrm>
          <a:custGeom>
            <a:avLst/>
            <a:gdLst/>
            <a:ahLst/>
            <a:cxnLst/>
            <a:rect l="l" t="t" r="r" b="b"/>
            <a:pathLst>
              <a:path w="360000" h="360000">
                <a:moveTo>
                  <a:pt x="185674" y="85465"/>
                </a:moveTo>
                <a:cubicBezTo>
                  <a:pt x="181593" y="93712"/>
                  <a:pt x="174648" y="102220"/>
                  <a:pt x="164838" y="110989"/>
                </a:cubicBezTo>
                <a:cubicBezTo>
                  <a:pt x="155028" y="119757"/>
                  <a:pt x="143568" y="127223"/>
                  <a:pt x="130459" y="133387"/>
                </a:cubicBezTo>
                <a:lnTo>
                  <a:pt x="130459" y="156046"/>
                </a:lnTo>
                <a:cubicBezTo>
                  <a:pt x="137751" y="153355"/>
                  <a:pt x="145977" y="149318"/>
                  <a:pt x="155136" y="143935"/>
                </a:cubicBezTo>
                <a:cubicBezTo>
                  <a:pt x="164295" y="138553"/>
                  <a:pt x="171696" y="133170"/>
                  <a:pt x="177339" y="127787"/>
                </a:cubicBezTo>
                <a:lnTo>
                  <a:pt x="177339" y="277155"/>
                </a:lnTo>
                <a:lnTo>
                  <a:pt x="200780" y="277155"/>
                </a:lnTo>
                <a:lnTo>
                  <a:pt x="200780" y="85465"/>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38" name="Textplatzhalter 37">
            <a:extLst>
              <a:ext uri="{FF2B5EF4-FFF2-40B4-BE49-F238E27FC236}">
                <a16:creationId xmlns:a16="http://schemas.microsoft.com/office/drawing/2014/main" id="{D418C9F0-9FD6-4591-B152-967C280F955A}"/>
              </a:ext>
            </a:extLst>
          </p:cNvPr>
          <p:cNvSpPr>
            <a:spLocks noGrp="1"/>
          </p:cNvSpPr>
          <p:nvPr>
            <p:ph type="body" sz="quarter" idx="37" hasCustomPrompt="1"/>
          </p:nvPr>
        </p:nvSpPr>
        <p:spPr bwMode="gray">
          <a:xfrm>
            <a:off x="4655840" y="836736"/>
            <a:ext cx="216000" cy="216000"/>
          </a:xfrm>
          <a:custGeom>
            <a:avLst/>
            <a:gdLst/>
            <a:ahLst/>
            <a:cxnLst/>
            <a:rect l="l" t="t" r="r" b="b"/>
            <a:pathLst>
              <a:path w="360000" h="360000">
                <a:moveTo>
                  <a:pt x="175907" y="85465"/>
                </a:moveTo>
                <a:cubicBezTo>
                  <a:pt x="157763" y="85465"/>
                  <a:pt x="143308" y="90174"/>
                  <a:pt x="132542" y="99594"/>
                </a:cubicBezTo>
                <a:cubicBezTo>
                  <a:pt x="121777" y="109013"/>
                  <a:pt x="115570" y="122709"/>
                  <a:pt x="113920" y="140680"/>
                </a:cubicBezTo>
                <a:lnTo>
                  <a:pt x="138012" y="143154"/>
                </a:lnTo>
                <a:cubicBezTo>
                  <a:pt x="138099" y="131173"/>
                  <a:pt x="141528" y="121797"/>
                  <a:pt x="148300" y="115025"/>
                </a:cubicBezTo>
                <a:cubicBezTo>
                  <a:pt x="155071" y="108254"/>
                  <a:pt x="164100" y="104868"/>
                  <a:pt x="175386" y="104868"/>
                </a:cubicBezTo>
                <a:cubicBezTo>
                  <a:pt x="186065" y="104868"/>
                  <a:pt x="194725" y="108058"/>
                  <a:pt x="201366" y="114439"/>
                </a:cubicBezTo>
                <a:cubicBezTo>
                  <a:pt x="208008" y="120820"/>
                  <a:pt x="211328" y="128656"/>
                  <a:pt x="211328" y="137945"/>
                </a:cubicBezTo>
                <a:cubicBezTo>
                  <a:pt x="211328" y="146800"/>
                  <a:pt x="207682" y="156198"/>
                  <a:pt x="200389" y="166139"/>
                </a:cubicBezTo>
                <a:cubicBezTo>
                  <a:pt x="193097" y="176079"/>
                  <a:pt x="179076" y="189557"/>
                  <a:pt x="158327" y="206573"/>
                </a:cubicBezTo>
                <a:cubicBezTo>
                  <a:pt x="144957" y="217512"/>
                  <a:pt x="134735" y="227149"/>
                  <a:pt x="127659" y="235483"/>
                </a:cubicBezTo>
                <a:cubicBezTo>
                  <a:pt x="120583" y="243818"/>
                  <a:pt x="115440" y="252282"/>
                  <a:pt x="112227" y="260877"/>
                </a:cubicBezTo>
                <a:cubicBezTo>
                  <a:pt x="110231" y="266086"/>
                  <a:pt x="109319" y="271512"/>
                  <a:pt x="109493" y="277155"/>
                </a:cubicBezTo>
                <a:lnTo>
                  <a:pt x="235680" y="277155"/>
                </a:lnTo>
                <a:lnTo>
                  <a:pt x="235680" y="254626"/>
                </a:lnTo>
                <a:lnTo>
                  <a:pt x="142049" y="254626"/>
                </a:lnTo>
                <a:cubicBezTo>
                  <a:pt x="144653" y="250372"/>
                  <a:pt x="147952" y="246140"/>
                  <a:pt x="151946" y="241929"/>
                </a:cubicBezTo>
                <a:cubicBezTo>
                  <a:pt x="155939" y="237719"/>
                  <a:pt x="164968" y="229710"/>
                  <a:pt x="179033" y="217903"/>
                </a:cubicBezTo>
                <a:cubicBezTo>
                  <a:pt x="195875" y="203665"/>
                  <a:pt x="207921" y="192466"/>
                  <a:pt x="215170" y="184305"/>
                </a:cubicBezTo>
                <a:cubicBezTo>
                  <a:pt x="222419" y="176144"/>
                  <a:pt x="227606" y="168374"/>
                  <a:pt x="230732" y="160995"/>
                </a:cubicBezTo>
                <a:cubicBezTo>
                  <a:pt x="233857" y="153615"/>
                  <a:pt x="235420" y="146106"/>
                  <a:pt x="235420" y="138466"/>
                </a:cubicBezTo>
                <a:cubicBezTo>
                  <a:pt x="235420" y="123447"/>
                  <a:pt x="230081" y="110858"/>
                  <a:pt x="219402" y="100701"/>
                </a:cubicBezTo>
                <a:cubicBezTo>
                  <a:pt x="208724" y="90543"/>
                  <a:pt x="194225" y="85465"/>
                  <a:pt x="175907" y="8546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39" name="Textplatzhalter 38">
            <a:extLst>
              <a:ext uri="{FF2B5EF4-FFF2-40B4-BE49-F238E27FC236}">
                <a16:creationId xmlns:a16="http://schemas.microsoft.com/office/drawing/2014/main" id="{35ABC069-5E08-4064-9A74-A7B129C851A5}"/>
              </a:ext>
            </a:extLst>
          </p:cNvPr>
          <p:cNvSpPr>
            <a:spLocks noGrp="1"/>
          </p:cNvSpPr>
          <p:nvPr>
            <p:ph type="body" sz="quarter" idx="38" hasCustomPrompt="1"/>
          </p:nvPr>
        </p:nvSpPr>
        <p:spPr bwMode="gray">
          <a:xfrm>
            <a:off x="8400256" y="836716"/>
            <a:ext cx="216000" cy="216000"/>
          </a:xfrm>
          <a:custGeom>
            <a:avLst/>
            <a:gdLst/>
            <a:ahLst/>
            <a:cxnLst/>
            <a:rect l="l" t="t" r="r" b="b"/>
            <a:pathLst>
              <a:path w="360000" h="360000">
                <a:moveTo>
                  <a:pt x="172371" y="85485"/>
                </a:moveTo>
                <a:cubicBezTo>
                  <a:pt x="157265" y="85485"/>
                  <a:pt x="144633" y="89804"/>
                  <a:pt x="134476" y="98442"/>
                </a:cubicBezTo>
                <a:cubicBezTo>
                  <a:pt x="124318" y="107080"/>
                  <a:pt x="117807" y="119256"/>
                  <a:pt x="114942" y="134970"/>
                </a:cubicBezTo>
                <a:lnTo>
                  <a:pt x="138382" y="139137"/>
                </a:lnTo>
                <a:cubicBezTo>
                  <a:pt x="140119" y="127677"/>
                  <a:pt x="144025" y="119082"/>
                  <a:pt x="150102" y="113353"/>
                </a:cubicBezTo>
                <a:cubicBezTo>
                  <a:pt x="156180" y="107623"/>
                  <a:pt x="163776" y="104758"/>
                  <a:pt x="172892" y="104758"/>
                </a:cubicBezTo>
                <a:cubicBezTo>
                  <a:pt x="182094" y="104758"/>
                  <a:pt x="189604" y="107579"/>
                  <a:pt x="195421" y="113222"/>
                </a:cubicBezTo>
                <a:cubicBezTo>
                  <a:pt x="201237" y="118865"/>
                  <a:pt x="204146" y="125984"/>
                  <a:pt x="204146" y="134579"/>
                </a:cubicBezTo>
                <a:cubicBezTo>
                  <a:pt x="204146" y="145431"/>
                  <a:pt x="200152" y="153462"/>
                  <a:pt x="192165" y="158671"/>
                </a:cubicBezTo>
                <a:cubicBezTo>
                  <a:pt x="184178" y="163880"/>
                  <a:pt x="175192" y="166484"/>
                  <a:pt x="165209" y="166484"/>
                </a:cubicBezTo>
                <a:cubicBezTo>
                  <a:pt x="164254" y="166484"/>
                  <a:pt x="162995" y="166397"/>
                  <a:pt x="161432" y="166224"/>
                </a:cubicBezTo>
                <a:lnTo>
                  <a:pt x="158828" y="186799"/>
                </a:lnTo>
                <a:cubicBezTo>
                  <a:pt x="165426" y="185063"/>
                  <a:pt x="170938" y="184195"/>
                  <a:pt x="175366" y="184195"/>
                </a:cubicBezTo>
                <a:cubicBezTo>
                  <a:pt x="186218" y="184195"/>
                  <a:pt x="195160" y="187689"/>
                  <a:pt x="202192" y="194678"/>
                </a:cubicBezTo>
                <a:cubicBezTo>
                  <a:pt x="209224" y="201667"/>
                  <a:pt x="212741" y="210544"/>
                  <a:pt x="212741" y="221309"/>
                </a:cubicBezTo>
                <a:cubicBezTo>
                  <a:pt x="212741" y="232595"/>
                  <a:pt x="208942" y="242058"/>
                  <a:pt x="201346" y="249698"/>
                </a:cubicBezTo>
                <a:cubicBezTo>
                  <a:pt x="193749" y="257338"/>
                  <a:pt x="184438" y="261158"/>
                  <a:pt x="173413" y="261158"/>
                </a:cubicBezTo>
                <a:cubicBezTo>
                  <a:pt x="164123" y="261158"/>
                  <a:pt x="156245" y="258227"/>
                  <a:pt x="149777" y="252367"/>
                </a:cubicBezTo>
                <a:cubicBezTo>
                  <a:pt x="143309" y="246507"/>
                  <a:pt x="138730" y="236936"/>
                  <a:pt x="136038" y="223653"/>
                </a:cubicBezTo>
                <a:lnTo>
                  <a:pt x="112598" y="226778"/>
                </a:lnTo>
                <a:cubicBezTo>
                  <a:pt x="114161" y="242666"/>
                  <a:pt x="120476" y="255601"/>
                  <a:pt x="131546" y="265585"/>
                </a:cubicBezTo>
                <a:cubicBezTo>
                  <a:pt x="142615" y="275569"/>
                  <a:pt x="156527" y="280561"/>
                  <a:pt x="173282" y="280561"/>
                </a:cubicBezTo>
                <a:cubicBezTo>
                  <a:pt x="191861" y="280561"/>
                  <a:pt x="207228" y="274766"/>
                  <a:pt x="219382" y="263176"/>
                </a:cubicBezTo>
                <a:cubicBezTo>
                  <a:pt x="231536" y="251586"/>
                  <a:pt x="237613" y="237457"/>
                  <a:pt x="237613" y="220788"/>
                </a:cubicBezTo>
                <a:cubicBezTo>
                  <a:pt x="237613" y="208460"/>
                  <a:pt x="234488" y="198194"/>
                  <a:pt x="228237" y="189990"/>
                </a:cubicBezTo>
                <a:cubicBezTo>
                  <a:pt x="221986" y="181786"/>
                  <a:pt x="213218" y="176381"/>
                  <a:pt x="201932" y="173777"/>
                </a:cubicBezTo>
                <a:cubicBezTo>
                  <a:pt x="210614" y="169783"/>
                  <a:pt x="217168" y="164401"/>
                  <a:pt x="221596" y="157629"/>
                </a:cubicBezTo>
                <a:cubicBezTo>
                  <a:pt x="226023" y="150857"/>
                  <a:pt x="228237" y="143348"/>
                  <a:pt x="228237" y="135100"/>
                </a:cubicBezTo>
                <a:cubicBezTo>
                  <a:pt x="228237" y="126418"/>
                  <a:pt x="225915" y="118214"/>
                  <a:pt x="221270" y="110488"/>
                </a:cubicBezTo>
                <a:cubicBezTo>
                  <a:pt x="216626" y="102761"/>
                  <a:pt x="209919" y="96662"/>
                  <a:pt x="201151" y="92191"/>
                </a:cubicBezTo>
                <a:cubicBezTo>
                  <a:pt x="192382" y="87720"/>
                  <a:pt x="182789" y="85485"/>
                  <a:pt x="172371" y="8548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51" name="Textplatzhalter 50">
            <a:extLst>
              <a:ext uri="{FF2B5EF4-FFF2-40B4-BE49-F238E27FC236}">
                <a16:creationId xmlns:a16="http://schemas.microsoft.com/office/drawing/2014/main" id="{8F9E893B-362F-4055-9E82-765352E19E7B}"/>
              </a:ext>
            </a:extLst>
          </p:cNvPr>
          <p:cNvSpPr>
            <a:spLocks noGrp="1"/>
          </p:cNvSpPr>
          <p:nvPr>
            <p:ph type="body" sz="quarter" idx="43" hasCustomPrompt="1"/>
          </p:nvPr>
        </p:nvSpPr>
        <p:spPr bwMode="gray">
          <a:xfrm>
            <a:off x="911449" y="3429000"/>
            <a:ext cx="216000" cy="216000"/>
          </a:xfrm>
          <a:custGeom>
            <a:avLst/>
            <a:gdLst/>
            <a:ahLst/>
            <a:cxnLst/>
            <a:rect l="l" t="t" r="r" b="b"/>
            <a:pathLst>
              <a:path w="360000" h="360000">
                <a:moveTo>
                  <a:pt x="187647" y="123901"/>
                </a:moveTo>
                <a:lnTo>
                  <a:pt x="187647" y="209979"/>
                </a:lnTo>
                <a:lnTo>
                  <a:pt x="127874" y="209979"/>
                </a:lnTo>
                <a:close/>
                <a:moveTo>
                  <a:pt x="191945" y="86266"/>
                </a:moveTo>
                <a:lnTo>
                  <a:pt x="104824" y="209979"/>
                </a:lnTo>
                <a:lnTo>
                  <a:pt x="104824" y="231466"/>
                </a:lnTo>
                <a:lnTo>
                  <a:pt x="187647" y="231466"/>
                </a:lnTo>
                <a:lnTo>
                  <a:pt x="187647" y="277175"/>
                </a:lnTo>
                <a:lnTo>
                  <a:pt x="211088" y="277175"/>
                </a:lnTo>
                <a:lnTo>
                  <a:pt x="211088" y="231466"/>
                </a:lnTo>
                <a:lnTo>
                  <a:pt x="236872" y="231466"/>
                </a:lnTo>
                <a:lnTo>
                  <a:pt x="236872" y="209979"/>
                </a:lnTo>
                <a:lnTo>
                  <a:pt x="211088" y="209979"/>
                </a:lnTo>
                <a:lnTo>
                  <a:pt x="211088" y="86266"/>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52" name="Textplatzhalter 51">
            <a:extLst>
              <a:ext uri="{FF2B5EF4-FFF2-40B4-BE49-F238E27FC236}">
                <a16:creationId xmlns:a16="http://schemas.microsoft.com/office/drawing/2014/main" id="{BDE23949-3946-429E-9A0F-BB02BF739AB8}"/>
              </a:ext>
            </a:extLst>
          </p:cNvPr>
          <p:cNvSpPr>
            <a:spLocks noGrp="1"/>
          </p:cNvSpPr>
          <p:nvPr>
            <p:ph type="body" sz="quarter" idx="33" hasCustomPrompt="1"/>
          </p:nvPr>
        </p:nvSpPr>
        <p:spPr bwMode="gray">
          <a:xfrm>
            <a:off x="4656039" y="3429040"/>
            <a:ext cx="216000" cy="216000"/>
          </a:xfrm>
          <a:custGeom>
            <a:avLst/>
            <a:gdLst/>
            <a:ahLst/>
            <a:cxnLst/>
            <a:rect l="l" t="t" r="r" b="b"/>
            <a:pathLst>
              <a:path w="360000" h="360000">
                <a:moveTo>
                  <a:pt x="135127" y="88790"/>
                </a:moveTo>
                <a:lnTo>
                  <a:pt x="116635" y="186850"/>
                </a:lnTo>
                <a:lnTo>
                  <a:pt x="138643" y="189715"/>
                </a:lnTo>
                <a:cubicBezTo>
                  <a:pt x="142116" y="184245"/>
                  <a:pt x="146891" y="179796"/>
                  <a:pt x="152968" y="176367"/>
                </a:cubicBezTo>
                <a:cubicBezTo>
                  <a:pt x="159045" y="172937"/>
                  <a:pt x="165860" y="171223"/>
                  <a:pt x="173413" y="171223"/>
                </a:cubicBezTo>
                <a:cubicBezTo>
                  <a:pt x="185567" y="171223"/>
                  <a:pt x="195399" y="175086"/>
                  <a:pt x="202909" y="182813"/>
                </a:cubicBezTo>
                <a:cubicBezTo>
                  <a:pt x="210418" y="190539"/>
                  <a:pt x="214173" y="201087"/>
                  <a:pt x="214173" y="214457"/>
                </a:cubicBezTo>
                <a:cubicBezTo>
                  <a:pt x="214173" y="228521"/>
                  <a:pt x="210267" y="239808"/>
                  <a:pt x="202453" y="248316"/>
                </a:cubicBezTo>
                <a:cubicBezTo>
                  <a:pt x="194640" y="256824"/>
                  <a:pt x="185090" y="261078"/>
                  <a:pt x="173804" y="261078"/>
                </a:cubicBezTo>
                <a:cubicBezTo>
                  <a:pt x="164427" y="261078"/>
                  <a:pt x="156419" y="258061"/>
                  <a:pt x="149777" y="252027"/>
                </a:cubicBezTo>
                <a:cubicBezTo>
                  <a:pt x="143136" y="245993"/>
                  <a:pt x="138903" y="236986"/>
                  <a:pt x="137080" y="225005"/>
                </a:cubicBezTo>
                <a:lnTo>
                  <a:pt x="112468" y="227089"/>
                </a:lnTo>
                <a:cubicBezTo>
                  <a:pt x="114031" y="243150"/>
                  <a:pt x="120303" y="256042"/>
                  <a:pt x="131285" y="265766"/>
                </a:cubicBezTo>
                <a:cubicBezTo>
                  <a:pt x="142268" y="275489"/>
                  <a:pt x="156440" y="280351"/>
                  <a:pt x="173804" y="280351"/>
                </a:cubicBezTo>
                <a:cubicBezTo>
                  <a:pt x="194987" y="280351"/>
                  <a:pt x="211699" y="272624"/>
                  <a:pt x="223940" y="257171"/>
                </a:cubicBezTo>
                <a:cubicBezTo>
                  <a:pt x="234011" y="244582"/>
                  <a:pt x="239046" y="229650"/>
                  <a:pt x="239046" y="212374"/>
                </a:cubicBezTo>
                <a:cubicBezTo>
                  <a:pt x="239046" y="194229"/>
                  <a:pt x="233316" y="179383"/>
                  <a:pt x="221857" y="167837"/>
                </a:cubicBezTo>
                <a:cubicBezTo>
                  <a:pt x="210397" y="156290"/>
                  <a:pt x="196332" y="150517"/>
                  <a:pt x="179664" y="150517"/>
                </a:cubicBezTo>
                <a:cubicBezTo>
                  <a:pt x="167075" y="150517"/>
                  <a:pt x="155051" y="154510"/>
                  <a:pt x="143592" y="162498"/>
                </a:cubicBezTo>
                <a:lnTo>
                  <a:pt x="153879" y="111189"/>
                </a:lnTo>
                <a:lnTo>
                  <a:pt x="230061" y="111189"/>
                </a:lnTo>
                <a:lnTo>
                  <a:pt x="230061" y="88790"/>
                </a:ln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53" name="Textplatzhalter 52">
            <a:extLst>
              <a:ext uri="{FF2B5EF4-FFF2-40B4-BE49-F238E27FC236}">
                <a16:creationId xmlns:a16="http://schemas.microsoft.com/office/drawing/2014/main" id="{AF5DA7AB-E9ED-440E-B3C9-B02141DC3D8E}"/>
              </a:ext>
            </a:extLst>
          </p:cNvPr>
          <p:cNvSpPr>
            <a:spLocks noGrp="1"/>
          </p:cNvSpPr>
          <p:nvPr>
            <p:ph type="body" sz="quarter" idx="44" hasCustomPrompt="1"/>
          </p:nvPr>
        </p:nvSpPr>
        <p:spPr bwMode="gray">
          <a:xfrm>
            <a:off x="8401448" y="3429040"/>
            <a:ext cx="216000" cy="216000"/>
          </a:xfrm>
          <a:custGeom>
            <a:avLst/>
            <a:gdLst/>
            <a:ahLst/>
            <a:cxnLst/>
            <a:rect l="l" t="t" r="r" b="b"/>
            <a:pathLst>
              <a:path w="360000" h="360000">
                <a:moveTo>
                  <a:pt x="176448" y="174037"/>
                </a:moveTo>
                <a:cubicBezTo>
                  <a:pt x="187126" y="174037"/>
                  <a:pt x="195982" y="177836"/>
                  <a:pt x="203014" y="185432"/>
                </a:cubicBezTo>
                <a:cubicBezTo>
                  <a:pt x="210046" y="193028"/>
                  <a:pt x="213562" y="203425"/>
                  <a:pt x="213562" y="216621"/>
                </a:cubicBezTo>
                <a:cubicBezTo>
                  <a:pt x="213562" y="230338"/>
                  <a:pt x="210002" y="241190"/>
                  <a:pt x="202883" y="249177"/>
                </a:cubicBezTo>
                <a:cubicBezTo>
                  <a:pt x="195765" y="257164"/>
                  <a:pt x="187257" y="261158"/>
                  <a:pt x="177359" y="261158"/>
                </a:cubicBezTo>
                <a:cubicBezTo>
                  <a:pt x="170588" y="261158"/>
                  <a:pt x="164120" y="259226"/>
                  <a:pt x="157956" y="255363"/>
                </a:cubicBezTo>
                <a:cubicBezTo>
                  <a:pt x="151792" y="251499"/>
                  <a:pt x="146995" y="245878"/>
                  <a:pt x="143566" y="238499"/>
                </a:cubicBezTo>
                <a:cubicBezTo>
                  <a:pt x="140137" y="231119"/>
                  <a:pt x="138422" y="223392"/>
                  <a:pt x="138422" y="215319"/>
                </a:cubicBezTo>
                <a:cubicBezTo>
                  <a:pt x="138422" y="202991"/>
                  <a:pt x="142112" y="193028"/>
                  <a:pt x="149491" y="185432"/>
                </a:cubicBezTo>
                <a:cubicBezTo>
                  <a:pt x="156871" y="177836"/>
                  <a:pt x="165856" y="174037"/>
                  <a:pt x="176448" y="174037"/>
                </a:cubicBezTo>
                <a:close/>
                <a:moveTo>
                  <a:pt x="179964" y="85485"/>
                </a:moveTo>
                <a:cubicBezTo>
                  <a:pt x="159823" y="85485"/>
                  <a:pt x="143805" y="92777"/>
                  <a:pt x="131911" y="107362"/>
                </a:cubicBezTo>
                <a:cubicBezTo>
                  <a:pt x="118281" y="124118"/>
                  <a:pt x="111466" y="150944"/>
                  <a:pt x="111466" y="187841"/>
                </a:cubicBezTo>
                <a:cubicBezTo>
                  <a:pt x="111466" y="220831"/>
                  <a:pt x="117630" y="244511"/>
                  <a:pt x="129958" y="258879"/>
                </a:cubicBezTo>
                <a:cubicBezTo>
                  <a:pt x="142286" y="273247"/>
                  <a:pt x="158216" y="280431"/>
                  <a:pt x="177750" y="280431"/>
                </a:cubicBezTo>
                <a:cubicBezTo>
                  <a:pt x="189210" y="280431"/>
                  <a:pt x="199454" y="277696"/>
                  <a:pt x="208483" y="272227"/>
                </a:cubicBezTo>
                <a:cubicBezTo>
                  <a:pt x="217512" y="266757"/>
                  <a:pt x="224609" y="258879"/>
                  <a:pt x="229775" y="248591"/>
                </a:cubicBezTo>
                <a:cubicBezTo>
                  <a:pt x="234940" y="238303"/>
                  <a:pt x="237523" y="227169"/>
                  <a:pt x="237523" y="215188"/>
                </a:cubicBezTo>
                <a:cubicBezTo>
                  <a:pt x="237523" y="196957"/>
                  <a:pt x="232032" y="182090"/>
                  <a:pt x="221050" y="170586"/>
                </a:cubicBezTo>
                <a:cubicBezTo>
                  <a:pt x="210068" y="159083"/>
                  <a:pt x="196763" y="153332"/>
                  <a:pt x="181136" y="153332"/>
                </a:cubicBezTo>
                <a:cubicBezTo>
                  <a:pt x="172194" y="153332"/>
                  <a:pt x="163642" y="155415"/>
                  <a:pt x="155482" y="159582"/>
                </a:cubicBezTo>
                <a:cubicBezTo>
                  <a:pt x="147321" y="163750"/>
                  <a:pt x="140419" y="170131"/>
                  <a:pt x="134776" y="178725"/>
                </a:cubicBezTo>
                <a:cubicBezTo>
                  <a:pt x="134950" y="159626"/>
                  <a:pt x="137163" y="144910"/>
                  <a:pt x="141417" y="134579"/>
                </a:cubicBezTo>
                <a:cubicBezTo>
                  <a:pt x="145671" y="124248"/>
                  <a:pt x="151488" y="116391"/>
                  <a:pt x="158868" y="111009"/>
                </a:cubicBezTo>
                <a:cubicBezTo>
                  <a:pt x="164511" y="106841"/>
                  <a:pt x="171065" y="104758"/>
                  <a:pt x="178531" y="104758"/>
                </a:cubicBezTo>
                <a:cubicBezTo>
                  <a:pt x="187821" y="104758"/>
                  <a:pt x="195634" y="108100"/>
                  <a:pt x="201972" y="114785"/>
                </a:cubicBezTo>
                <a:cubicBezTo>
                  <a:pt x="205792" y="118952"/>
                  <a:pt x="208744" y="125637"/>
                  <a:pt x="210827" y="134840"/>
                </a:cubicBezTo>
                <a:lnTo>
                  <a:pt x="234137" y="133017"/>
                </a:lnTo>
                <a:cubicBezTo>
                  <a:pt x="232227" y="118171"/>
                  <a:pt x="226476" y="106538"/>
                  <a:pt x="216883" y="98116"/>
                </a:cubicBezTo>
                <a:cubicBezTo>
                  <a:pt x="207289" y="89695"/>
                  <a:pt x="194983" y="85485"/>
                  <a:pt x="179964" y="85485"/>
                </a:cubicBezTo>
                <a:close/>
                <a:moveTo>
                  <a:pt x="180000" y="0"/>
                </a:moveTo>
                <a:cubicBezTo>
                  <a:pt x="279411" y="0"/>
                  <a:pt x="360000" y="80589"/>
                  <a:pt x="360000" y="180000"/>
                </a:cubicBezTo>
                <a:cubicBezTo>
                  <a:pt x="360000" y="279411"/>
                  <a:pt x="279411" y="360000"/>
                  <a:pt x="180000" y="360000"/>
                </a:cubicBezTo>
                <a:cubicBezTo>
                  <a:pt x="80589" y="360000"/>
                  <a:pt x="0" y="279411"/>
                  <a:pt x="0" y="180000"/>
                </a:cubicBezTo>
                <a:cubicBezTo>
                  <a:pt x="0" y="80589"/>
                  <a:pt x="80589" y="0"/>
                  <a:pt x="180000" y="0"/>
                </a:cubicBezTo>
                <a:close/>
              </a:path>
            </a:pathLst>
          </a:custGeom>
          <a:solidFill>
            <a:schemeClr val="accent1"/>
          </a:solidFill>
        </p:spPr>
        <p:txBody>
          <a:bodyPr wrap="square" anchor="ctr">
            <a:noAutofit/>
          </a:bodyPr>
          <a:lstStyle>
            <a:lvl1pPr marL="0" indent="0" algn="ctr">
              <a:lnSpc>
                <a:spcPct val="100000"/>
              </a:lnSpc>
              <a:buFont typeface="Arial" panose="020B0604020202020204" pitchFamily="34" charset="0"/>
              <a:buNone/>
              <a:defRPr sz="600" b="0">
                <a:solidFill>
                  <a:schemeClr val="bg1">
                    <a:alpha val="0"/>
                  </a:schemeClr>
                </a:solidFill>
              </a:defRPr>
            </a:lvl1pPr>
            <a:lvl2pPr marL="0" indent="0" algn="ctr">
              <a:buFont typeface="Arial" panose="020B0604020202020204" pitchFamily="34" charset="0"/>
              <a:buNone/>
              <a:defRPr sz="600" b="0">
                <a:solidFill>
                  <a:schemeClr val="bg1">
                    <a:alpha val="0"/>
                  </a:schemeClr>
                </a:solidFill>
              </a:defRPr>
            </a:lvl2pPr>
            <a:lvl3pPr marL="0" indent="0" algn="ctr">
              <a:buNone/>
              <a:defRPr sz="600" b="0">
                <a:solidFill>
                  <a:schemeClr val="bg1">
                    <a:alpha val="0"/>
                  </a:schemeClr>
                </a:solidFill>
              </a:defRPr>
            </a:lvl3pPr>
            <a:lvl4pPr marL="0" indent="0" algn="ctr">
              <a:buNone/>
              <a:defRPr sz="600" b="0">
                <a:solidFill>
                  <a:schemeClr val="bg1">
                    <a:alpha val="0"/>
                  </a:schemeClr>
                </a:solidFill>
              </a:defRPr>
            </a:lvl4pPr>
            <a:lvl5pPr marL="0" indent="0" algn="ctr">
              <a:buNone/>
              <a:defRPr sz="600" b="0">
                <a:solidFill>
                  <a:schemeClr val="bg1">
                    <a:alpha val="0"/>
                  </a:schemeClr>
                </a:solidFill>
              </a:defRPr>
            </a:lvl5pPr>
            <a:lvl6pPr marL="0" indent="0" algn="ctr">
              <a:buNone/>
              <a:defRPr sz="600" b="0">
                <a:solidFill>
                  <a:schemeClr val="bg1">
                    <a:alpha val="0"/>
                  </a:schemeClr>
                </a:solidFill>
              </a:defRPr>
            </a:lvl6pPr>
            <a:lvl7pPr marL="0" indent="0" algn="ctr">
              <a:buNone/>
              <a:defRPr sz="600" b="0">
                <a:solidFill>
                  <a:schemeClr val="bg1">
                    <a:alpha val="0"/>
                  </a:schemeClr>
                </a:solidFill>
              </a:defRPr>
            </a:lvl7pPr>
            <a:lvl8pPr marL="0" indent="0" algn="ctr">
              <a:buNone/>
              <a:defRPr sz="600" b="0">
                <a:solidFill>
                  <a:schemeClr val="bg1">
                    <a:alpha val="0"/>
                  </a:schemeClr>
                </a:solidFill>
              </a:defRPr>
            </a:lvl8pPr>
            <a:lvl9pPr marL="0" indent="0" algn="ctr">
              <a:buNone/>
              <a:defRPr sz="600" b="0">
                <a:solidFill>
                  <a:schemeClr val="bg1">
                    <a:alpha val="0"/>
                  </a:schemeClr>
                </a:solidFill>
              </a:defRPr>
            </a:lvl9pPr>
          </a:lstStyle>
          <a:p>
            <a:pPr lvl="0"/>
            <a:r>
              <a:rPr lang="en-US" noProof="0"/>
              <a:t>  </a:t>
            </a:r>
          </a:p>
        </p:txBody>
      </p:sp>
      <p:sp>
        <p:nvSpPr>
          <p:cNvPr id="40" name="Textplatzhalter 4">
            <a:extLst>
              <a:ext uri="{FF2B5EF4-FFF2-40B4-BE49-F238E27FC236}">
                <a16:creationId xmlns:a16="http://schemas.microsoft.com/office/drawing/2014/main" id="{DD69A0CE-260D-426D-9EC8-EC18C18DB5E0}"/>
              </a:ext>
            </a:extLst>
          </p:cNvPr>
          <p:cNvSpPr>
            <a:spLocks noGrp="1"/>
          </p:cNvSpPr>
          <p:nvPr>
            <p:ph type="body" sz="quarter" idx="13" hasCustomPrompt="1"/>
          </p:nvPr>
        </p:nvSpPr>
        <p:spPr bwMode="gray">
          <a:xfrm>
            <a:off x="911225" y="1916832"/>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1" name="Textplatzhalter 4">
            <a:extLst>
              <a:ext uri="{FF2B5EF4-FFF2-40B4-BE49-F238E27FC236}">
                <a16:creationId xmlns:a16="http://schemas.microsoft.com/office/drawing/2014/main" id="{502AB94C-CF2C-47CF-A84B-08C69E8ECE28}"/>
              </a:ext>
            </a:extLst>
          </p:cNvPr>
          <p:cNvSpPr>
            <a:spLocks noGrp="1"/>
          </p:cNvSpPr>
          <p:nvPr>
            <p:ph type="body" sz="quarter" idx="39" hasCustomPrompt="1"/>
          </p:nvPr>
        </p:nvSpPr>
        <p:spPr bwMode="gray">
          <a:xfrm>
            <a:off x="4654847" y="1916874"/>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2" name="Textplatzhalter 4">
            <a:extLst>
              <a:ext uri="{FF2B5EF4-FFF2-40B4-BE49-F238E27FC236}">
                <a16:creationId xmlns:a16="http://schemas.microsoft.com/office/drawing/2014/main" id="{E0744575-9016-4636-8250-06FE10069203}"/>
              </a:ext>
            </a:extLst>
          </p:cNvPr>
          <p:cNvSpPr>
            <a:spLocks noGrp="1"/>
          </p:cNvSpPr>
          <p:nvPr>
            <p:ph type="body" sz="quarter" idx="40" hasCustomPrompt="1"/>
          </p:nvPr>
        </p:nvSpPr>
        <p:spPr bwMode="gray">
          <a:xfrm>
            <a:off x="8399263" y="1916916"/>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3" name="Textplatzhalter 4">
            <a:extLst>
              <a:ext uri="{FF2B5EF4-FFF2-40B4-BE49-F238E27FC236}">
                <a16:creationId xmlns:a16="http://schemas.microsoft.com/office/drawing/2014/main" id="{871AC21B-F292-47D2-B2FE-FBFC9BE8E604}"/>
              </a:ext>
            </a:extLst>
          </p:cNvPr>
          <p:cNvSpPr>
            <a:spLocks noGrp="1"/>
          </p:cNvSpPr>
          <p:nvPr>
            <p:ph type="body" sz="quarter" idx="45" hasCustomPrompt="1"/>
          </p:nvPr>
        </p:nvSpPr>
        <p:spPr bwMode="gray">
          <a:xfrm>
            <a:off x="911424" y="4509044"/>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4" name="Textplatzhalter 4">
            <a:extLst>
              <a:ext uri="{FF2B5EF4-FFF2-40B4-BE49-F238E27FC236}">
                <a16:creationId xmlns:a16="http://schemas.microsoft.com/office/drawing/2014/main" id="{8DE39D11-CE0D-48DE-9542-911115F39055}"/>
              </a:ext>
            </a:extLst>
          </p:cNvPr>
          <p:cNvSpPr>
            <a:spLocks noGrp="1"/>
          </p:cNvSpPr>
          <p:nvPr>
            <p:ph type="body" sz="quarter" idx="46" hasCustomPrompt="1"/>
          </p:nvPr>
        </p:nvSpPr>
        <p:spPr bwMode="gray">
          <a:xfrm>
            <a:off x="4655046" y="4509086"/>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5" name="Textplatzhalter 4">
            <a:extLst>
              <a:ext uri="{FF2B5EF4-FFF2-40B4-BE49-F238E27FC236}">
                <a16:creationId xmlns:a16="http://schemas.microsoft.com/office/drawing/2014/main" id="{FA737A22-A914-4DC7-9990-3C8DAC5E2ADA}"/>
              </a:ext>
            </a:extLst>
          </p:cNvPr>
          <p:cNvSpPr>
            <a:spLocks noGrp="1"/>
          </p:cNvSpPr>
          <p:nvPr>
            <p:ph type="body" sz="quarter" idx="47" hasCustomPrompt="1"/>
          </p:nvPr>
        </p:nvSpPr>
        <p:spPr bwMode="gray">
          <a:xfrm>
            <a:off x="8399462" y="4509128"/>
            <a:ext cx="2881313" cy="72000"/>
          </a:xfrm>
          <a:prstGeom prst="roundRect">
            <a:avLst>
              <a:gd name="adj" fmla="val 50000"/>
            </a:avLst>
          </a:prstGeom>
          <a:solidFill>
            <a:schemeClr val="accent1"/>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pic>
        <p:nvPicPr>
          <p:cNvPr id="46" name="Grafik 45">
            <a:extLst>
              <a:ext uri="{FF2B5EF4-FFF2-40B4-BE49-F238E27FC236}">
                <a16:creationId xmlns:a16="http://schemas.microsoft.com/office/drawing/2014/main" id="{ACD91176-86FB-4D07-95E7-23C8831CCA0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07368" y="404813"/>
            <a:ext cx="216241" cy="216000"/>
          </a:xfrm>
          <a:prstGeom prst="rect">
            <a:avLst/>
          </a:prstGeom>
        </p:spPr>
      </p:pic>
    </p:spTree>
    <p:extLst>
      <p:ext uri="{BB962C8B-B14F-4D97-AF65-F5344CB8AC3E}">
        <p14:creationId xmlns:p14="http://schemas.microsoft.com/office/powerpoint/2010/main" val="2455181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F80799D-B919-428B-8AC5-F08B68BC5AB0}"/>
              </a:ext>
            </a:extLst>
          </p:cNvPr>
          <p:cNvGraphicFramePr>
            <a:graphicFrameLocks noChangeAspect="1"/>
          </p:cNvGraphicFramePr>
          <p:nvPr userDrawn="1">
            <p:custDataLst>
              <p:tags r:id="rId30"/>
            </p:custDataLst>
            <p:extLst>
              <p:ext uri="{D42A27DB-BD31-4B8C-83A1-F6EECF244321}">
                <p14:modId xmlns:p14="http://schemas.microsoft.com/office/powerpoint/2010/main" val="10935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2" imgW="347" imgH="348" progId="TCLayout.ActiveDocument.1">
                  <p:embed/>
                </p:oleObj>
              </mc:Choice>
              <mc:Fallback>
                <p:oleObj name="Diapositiva de think-cell" r:id="rId32" imgW="347" imgH="348" progId="TCLayout.ActiveDocument.1">
                  <p:embed/>
                  <p:pic>
                    <p:nvPicPr>
                      <p:cNvPr id="8" name="Objekt 7" hidden="1">
                        <a:extLst>
                          <a:ext uri="{FF2B5EF4-FFF2-40B4-BE49-F238E27FC236}">
                            <a16:creationId xmlns:a16="http://schemas.microsoft.com/office/drawing/2014/main" id="{DF80799D-B919-428B-8AC5-F08B68BC5AB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6CC85BAA-8B3D-478F-91FB-9282E2857359}"/>
              </a:ext>
            </a:extLst>
          </p:cNvPr>
          <p:cNvSpPr/>
          <p:nvPr userDrawn="1">
            <p:custDataLst>
              <p:tags r:id="rId3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err="1">
              <a:latin typeface="Arial" panose="020B0604020202020204" pitchFamily="34" charset="0"/>
              <a:ea typeface="+mj-ea"/>
              <a:cs typeface="+mj-cs"/>
              <a:sym typeface="Arial" panose="020B0604020202020204" pitchFamily="34" charset="0"/>
            </a:endParaRPr>
          </a:p>
        </p:txBody>
      </p:sp>
      <p:sp>
        <p:nvSpPr>
          <p:cNvPr id="2" name="Titelplatzhalter 1">
            <a:extLst>
              <a:ext uri="{FF2B5EF4-FFF2-40B4-BE49-F238E27FC236}">
                <a16:creationId xmlns:a16="http://schemas.microsoft.com/office/drawing/2014/main" id="{00AB949E-C448-4ADE-AD76-FB36F5D481AC}"/>
              </a:ext>
            </a:extLst>
          </p:cNvPr>
          <p:cNvSpPr>
            <a:spLocks noGrp="1"/>
          </p:cNvSpPr>
          <p:nvPr>
            <p:ph type="title"/>
          </p:nvPr>
        </p:nvSpPr>
        <p:spPr bwMode="gray">
          <a:xfrm>
            <a:off x="407367" y="692696"/>
            <a:ext cx="11376645" cy="648000"/>
          </a:xfrm>
          <a:prstGeom prst="rect">
            <a:avLst/>
          </a:prstGeom>
        </p:spPr>
        <p:txBody>
          <a:bodyPr vert="horz" lIns="0" tIns="0" rIns="0" bIns="0" rtlCol="0" anchor="t">
            <a:noAutofit/>
          </a:bodyPr>
          <a:lstStyle/>
          <a:p>
            <a:r>
              <a:rPr lang="en-US" noProof="0"/>
              <a:t>Click to add text</a:t>
            </a:r>
          </a:p>
        </p:txBody>
      </p:sp>
      <p:sp>
        <p:nvSpPr>
          <p:cNvPr id="3" name="Textplatzhalter 2">
            <a:extLst>
              <a:ext uri="{FF2B5EF4-FFF2-40B4-BE49-F238E27FC236}">
                <a16:creationId xmlns:a16="http://schemas.microsoft.com/office/drawing/2014/main" id="{0AC8B4D2-A369-4BFC-B228-C43EB047C3A3}"/>
              </a:ext>
            </a:extLst>
          </p:cNvPr>
          <p:cNvSpPr>
            <a:spLocks noGrp="1"/>
          </p:cNvSpPr>
          <p:nvPr>
            <p:ph type="body" idx="1"/>
          </p:nvPr>
        </p:nvSpPr>
        <p:spPr bwMode="gray">
          <a:xfrm>
            <a:off x="407368" y="1557328"/>
            <a:ext cx="11376000" cy="4824000"/>
          </a:xfrm>
          <a:prstGeom prst="rect">
            <a:avLst/>
          </a:prstGeom>
        </p:spPr>
        <p:txBody>
          <a:bodyPr vert="horz" lIns="0" tIns="0" rIns="0" bIns="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Foliennummernplatzhalter 5">
            <a:extLst>
              <a:ext uri="{FF2B5EF4-FFF2-40B4-BE49-F238E27FC236}">
                <a16:creationId xmlns:a16="http://schemas.microsoft.com/office/drawing/2014/main" id="{8FB9588F-5FBF-4994-998B-73E17C58439E}"/>
              </a:ext>
            </a:extLst>
          </p:cNvPr>
          <p:cNvSpPr>
            <a:spLocks noGrp="1"/>
          </p:cNvSpPr>
          <p:nvPr>
            <p:ph type="sldNum" sz="quarter" idx="4"/>
          </p:nvPr>
        </p:nvSpPr>
        <p:spPr bwMode="gray">
          <a:xfrm>
            <a:off x="11568632" y="6561368"/>
            <a:ext cx="216000" cy="180000"/>
          </a:xfrm>
          <a:prstGeom prst="rect">
            <a:avLst/>
          </a:prstGeom>
        </p:spPr>
        <p:txBody>
          <a:bodyPr vert="horz" wrap="none" lIns="0" tIns="0" rIns="0" bIns="0" rtlCol="0" anchor="ctr"/>
          <a:lstStyle>
            <a:lvl1pPr algn="r">
              <a:lnSpc>
                <a:spcPct val="100000"/>
              </a:lnSpc>
              <a:defRPr sz="900">
                <a:solidFill>
                  <a:schemeClr val="tx1">
                    <a:tint val="75000"/>
                  </a:schemeClr>
                </a:solidFill>
              </a:defRPr>
            </a:lvl1pPr>
          </a:lstStyle>
          <a:p>
            <a:fld id="{3B140A39-527A-45CF-A911-B921024B92E6}" type="slidenum">
              <a:rPr lang="en-US" noProof="0" smtClean="0"/>
              <a:pPr/>
              <a:t>‹#›</a:t>
            </a:fld>
            <a:endParaRPr lang="en-US" noProof="0"/>
          </a:p>
        </p:txBody>
      </p:sp>
      <p:sp>
        <p:nvSpPr>
          <p:cNvPr id="4" name="Fußzeilenplatzhalter 3">
            <a:extLst>
              <a:ext uri="{FF2B5EF4-FFF2-40B4-BE49-F238E27FC236}">
                <a16:creationId xmlns:a16="http://schemas.microsoft.com/office/drawing/2014/main" id="{050A3C1E-CEB3-4F92-9229-E1D718E64A62}"/>
              </a:ext>
            </a:extLst>
          </p:cNvPr>
          <p:cNvSpPr>
            <a:spLocks noGrp="1"/>
          </p:cNvSpPr>
          <p:nvPr>
            <p:ph type="ftr" sz="quarter" idx="3"/>
          </p:nvPr>
        </p:nvSpPr>
        <p:spPr bwMode="gray">
          <a:xfrm>
            <a:off x="6095999" y="6561368"/>
            <a:ext cx="5364000" cy="180000"/>
          </a:xfrm>
          <a:prstGeom prst="rect">
            <a:avLst/>
          </a:prstGeom>
        </p:spPr>
        <p:txBody>
          <a:bodyPr vert="horz" lIns="0" tIns="45720" rIns="0" bIns="45720" rtlCol="0" anchor="ctr"/>
          <a:lstStyle>
            <a:lvl1pPr algn="r">
              <a:defRPr sz="900">
                <a:solidFill>
                  <a:schemeClr val="accent6"/>
                </a:solidFill>
              </a:defRPr>
            </a:lvl1pPr>
          </a:lstStyle>
          <a:p>
            <a:r>
              <a:rPr lang="en-GB" noProof="0"/>
              <a:t>BayWa r.e. AG Company Presentation 2024</a:t>
            </a:r>
            <a:endParaRPr lang="en-US" noProof="0"/>
          </a:p>
        </p:txBody>
      </p:sp>
      <p:sp>
        <p:nvSpPr>
          <p:cNvPr id="7" name="Freihandform: Form 6">
            <a:extLst>
              <a:ext uri="{FF2B5EF4-FFF2-40B4-BE49-F238E27FC236}">
                <a16:creationId xmlns:a16="http://schemas.microsoft.com/office/drawing/2014/main" id="{86E307EE-4D0E-4E87-8290-B3F6FD62B6C7}"/>
              </a:ext>
            </a:extLst>
          </p:cNvPr>
          <p:cNvSpPr/>
          <p:nvPr userDrawn="1"/>
        </p:nvSpPr>
        <p:spPr>
          <a:xfrm>
            <a:off x="11510963" y="6579368"/>
            <a:ext cx="0" cy="144000"/>
          </a:xfrm>
          <a:custGeom>
            <a:avLst/>
            <a:gdLst>
              <a:gd name="connsiteX0" fmla="*/ 0 w 0"/>
              <a:gd name="connsiteY0" fmla="*/ 0 h 185737"/>
              <a:gd name="connsiteX1" fmla="*/ 0 w 0"/>
              <a:gd name="connsiteY1" fmla="*/ 185737 h 185737"/>
            </a:gdLst>
            <a:ahLst/>
            <a:cxnLst>
              <a:cxn ang="0">
                <a:pos x="connsiteX0" y="connsiteY0"/>
              </a:cxn>
              <a:cxn ang="0">
                <a:pos x="connsiteX1" y="connsiteY1"/>
              </a:cxn>
            </a:cxnLst>
            <a:rect l="l" t="t" r="r" b="b"/>
            <a:pathLst>
              <a:path h="185737">
                <a:moveTo>
                  <a:pt x="0" y="0"/>
                </a:moveTo>
                <a:lnTo>
                  <a:pt x="0" y="185737"/>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uppieren 25">
            <a:extLst>
              <a:ext uri="{FF2B5EF4-FFF2-40B4-BE49-F238E27FC236}">
                <a16:creationId xmlns:a16="http://schemas.microsoft.com/office/drawing/2014/main" id="{B36D08F1-04FF-4809-9E33-F949A46F800D}"/>
              </a:ext>
            </a:extLst>
          </p:cNvPr>
          <p:cNvGrpSpPr/>
          <p:nvPr userDrawn="1"/>
        </p:nvGrpSpPr>
        <p:grpSpPr>
          <a:xfrm>
            <a:off x="407988" y="404664"/>
            <a:ext cx="225426" cy="225425"/>
            <a:chOff x="10848975" y="6561138"/>
            <a:chExt cx="225426" cy="225425"/>
          </a:xfrm>
        </p:grpSpPr>
        <p:sp>
          <p:nvSpPr>
            <p:cNvPr id="27" name="Rectangle 5">
              <a:extLst>
                <a:ext uri="{FF2B5EF4-FFF2-40B4-BE49-F238E27FC236}">
                  <a16:creationId xmlns:a16="http://schemas.microsoft.com/office/drawing/2014/main" id="{82796679-3647-4877-8E89-A77681941CF5}"/>
                </a:ext>
              </a:extLst>
            </p:cNvPr>
            <p:cNvSpPr>
              <a:spLocks noChangeArrowheads="1"/>
            </p:cNvSpPr>
            <p:nvPr userDrawn="1"/>
          </p:nvSpPr>
          <p:spPr bwMode="auto">
            <a:xfrm>
              <a:off x="10848975" y="6618288"/>
              <a:ext cx="168275" cy="168275"/>
            </a:xfrm>
            <a:prstGeom prst="rect">
              <a:avLst/>
            </a:prstGeom>
            <a:solidFill>
              <a:srgbClr val="F9D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a16="http://schemas.microsoft.com/office/drawing/2014/main" id="{211D52B6-D435-4C96-B1D5-266EA891F9A1}"/>
                </a:ext>
              </a:extLst>
            </p:cNvPr>
            <p:cNvSpPr>
              <a:spLocks/>
            </p:cNvSpPr>
            <p:nvPr userDrawn="1"/>
          </p:nvSpPr>
          <p:spPr bwMode="auto">
            <a:xfrm>
              <a:off x="10848975" y="6561138"/>
              <a:ext cx="225425" cy="225425"/>
            </a:xfrm>
            <a:custGeom>
              <a:avLst/>
              <a:gdLst>
                <a:gd name="T0" fmla="*/ 0 w 142"/>
                <a:gd name="T1" fmla="*/ 36 h 142"/>
                <a:gd name="T2" fmla="*/ 106 w 142"/>
                <a:gd name="T3" fmla="*/ 0 h 142"/>
                <a:gd name="T4" fmla="*/ 142 w 142"/>
                <a:gd name="T5" fmla="*/ 107 h 142"/>
                <a:gd name="T6" fmla="*/ 35 w 142"/>
                <a:gd name="T7" fmla="*/ 142 h 142"/>
                <a:gd name="T8" fmla="*/ 0 w 142"/>
                <a:gd name="T9" fmla="*/ 36 h 142"/>
              </a:gdLst>
              <a:ahLst/>
              <a:cxnLst>
                <a:cxn ang="0">
                  <a:pos x="T0" y="T1"/>
                </a:cxn>
                <a:cxn ang="0">
                  <a:pos x="T2" y="T3"/>
                </a:cxn>
                <a:cxn ang="0">
                  <a:pos x="T4" y="T5"/>
                </a:cxn>
                <a:cxn ang="0">
                  <a:pos x="T6" y="T7"/>
                </a:cxn>
                <a:cxn ang="0">
                  <a:pos x="T8" y="T9"/>
                </a:cxn>
              </a:cxnLst>
              <a:rect l="0" t="0" r="r" b="b"/>
              <a:pathLst>
                <a:path w="142" h="142">
                  <a:moveTo>
                    <a:pt x="0" y="36"/>
                  </a:moveTo>
                  <a:lnTo>
                    <a:pt x="106" y="0"/>
                  </a:lnTo>
                  <a:lnTo>
                    <a:pt x="142" y="107"/>
                  </a:lnTo>
                  <a:lnTo>
                    <a:pt x="35" y="142"/>
                  </a:lnTo>
                  <a:lnTo>
                    <a:pt x="0" y="36"/>
                  </a:lnTo>
                  <a:close/>
                </a:path>
              </a:pathLst>
            </a:custGeom>
            <a:solidFill>
              <a:srgbClr val="78B9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7">
              <a:extLst>
                <a:ext uri="{FF2B5EF4-FFF2-40B4-BE49-F238E27FC236}">
                  <a16:creationId xmlns:a16="http://schemas.microsoft.com/office/drawing/2014/main" id="{CC46E1F4-DAAB-4CDD-8ADC-F75FE8CDD828}"/>
                </a:ext>
              </a:extLst>
            </p:cNvPr>
            <p:cNvSpPr>
              <a:spLocks noChangeArrowheads="1"/>
            </p:cNvSpPr>
            <p:nvPr userDrawn="1"/>
          </p:nvSpPr>
          <p:spPr bwMode="auto">
            <a:xfrm>
              <a:off x="10904538" y="6561138"/>
              <a:ext cx="169863" cy="169863"/>
            </a:xfrm>
            <a:prstGeom prst="rect">
              <a:avLst/>
            </a:prstGeom>
            <a:solidFill>
              <a:srgbClr val="008C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1" name="Grafik 30">
            <a:extLst>
              <a:ext uri="{FF2B5EF4-FFF2-40B4-BE49-F238E27FC236}">
                <a16:creationId xmlns:a16="http://schemas.microsoft.com/office/drawing/2014/main" id="{8776EEAC-C09D-4EDB-95BC-ED4EC31735AC}"/>
              </a:ext>
            </a:extLst>
          </p:cNvPr>
          <p:cNvPicPr>
            <a:picLocks noChangeAspect="1"/>
          </p:cNvPicPr>
          <p:nvPr userDrawn="1"/>
        </p:nvPicPr>
        <p:blipFill>
          <a:blip r:embed="rId34" cstate="hqprint">
            <a:extLst>
              <a:ext uri="{28A0092B-C50C-407E-A947-70E740481C1C}">
                <a14:useLocalDpi xmlns:a14="http://schemas.microsoft.com/office/drawing/2010/main"/>
              </a:ext>
            </a:extLst>
          </a:blip>
          <a:stretch>
            <a:fillRect/>
          </a:stretch>
        </p:blipFill>
        <p:spPr>
          <a:xfrm>
            <a:off x="407368" y="6606876"/>
            <a:ext cx="809454" cy="108000"/>
          </a:xfrm>
          <a:prstGeom prst="rect">
            <a:avLst/>
          </a:prstGeom>
        </p:spPr>
      </p:pic>
    </p:spTree>
    <p:extLst>
      <p:ext uri="{BB962C8B-B14F-4D97-AF65-F5344CB8AC3E}">
        <p14:creationId xmlns:p14="http://schemas.microsoft.com/office/powerpoint/2010/main" val="3252287160"/>
      </p:ext>
    </p:extLst>
  </p:cSld>
  <p:clrMap bg1="lt1" tx1="dk1" bg2="lt2" tx2="dk2" accent1="accent1" accent2="accent2" accent3="accent3" accent4="accent4" accent5="accent5" accent6="accent6" hlink="hlink" folHlink="folHlink"/>
  <p:sldLayoutIdLst>
    <p:sldLayoutId id="2147483659" r:id="rId1"/>
    <p:sldLayoutId id="2147483658" r:id="rId2"/>
    <p:sldLayoutId id="2147483664" r:id="rId3"/>
    <p:sldLayoutId id="2147483665" r:id="rId4"/>
    <p:sldLayoutId id="2147483666" r:id="rId5"/>
    <p:sldLayoutId id="2147483649" r:id="rId6"/>
    <p:sldLayoutId id="2147483656" r:id="rId7"/>
    <p:sldLayoutId id="2147483663" r:id="rId8"/>
    <p:sldLayoutId id="2147483662" r:id="rId9"/>
    <p:sldLayoutId id="2147483661" r:id="rId10"/>
    <p:sldLayoutId id="2147483650" r:id="rId11"/>
    <p:sldLayoutId id="2147483667" r:id="rId12"/>
    <p:sldLayoutId id="2147483669" r:id="rId13"/>
    <p:sldLayoutId id="2147483672" r:id="rId14"/>
    <p:sldLayoutId id="2147483670" r:id="rId15"/>
    <p:sldLayoutId id="2147483668" r:id="rId16"/>
    <p:sldLayoutId id="2147483679" r:id="rId17"/>
    <p:sldLayoutId id="2147483673" r:id="rId18"/>
    <p:sldLayoutId id="2147483674" r:id="rId19"/>
    <p:sldLayoutId id="2147483671" r:id="rId20"/>
    <p:sldLayoutId id="2147483681" r:id="rId21"/>
    <p:sldLayoutId id="2147483680" r:id="rId22"/>
    <p:sldLayoutId id="2147483678" r:id="rId23"/>
    <p:sldLayoutId id="2147483654" r:id="rId24"/>
    <p:sldLayoutId id="2147483655" r:id="rId25"/>
    <p:sldLayoutId id="2147483676" r:id="rId26"/>
    <p:sldLayoutId id="2147483675" r:id="rId27"/>
    <p:sldLayoutId id="2147483682" r:id="rId28"/>
  </p:sldLayoutIdLst>
  <p:hf hdr="0" dt="0"/>
  <p:txStyles>
    <p:titleStyle>
      <a:lvl1pPr algn="l" defTabSz="914400" rtl="0" eaLnBrk="1" latinLnBrk="0" hangingPunct="1">
        <a:lnSpc>
          <a:spcPct val="100000"/>
        </a:lnSpc>
        <a:spcBef>
          <a:spcPct val="0"/>
        </a:spcBef>
        <a:buNone/>
        <a:defRPr sz="21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7423">
          <p15:clr>
            <a:srgbClr val="F26B43"/>
          </p15:clr>
        </p15:guide>
        <p15:guide id="3" orient="horz" pos="255">
          <p15:clr>
            <a:srgbClr val="F26B43"/>
          </p15:clr>
        </p15:guide>
        <p15:guide id="4" orient="horz" pos="4020">
          <p15:clr>
            <a:srgbClr val="F26B43"/>
          </p15:clr>
        </p15:guide>
        <p15:guide id="5" orient="horz" pos="9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tags" Target="../tags/tag75.xml"/><Relationship Id="rId50" Type="http://schemas.openxmlformats.org/officeDocument/2006/relationships/oleObject" Target="../embeddings/oleObject4.bin"/><Relationship Id="rId55" Type="http://schemas.openxmlformats.org/officeDocument/2006/relationships/image" Target="../media/image58.svg"/><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image" Target="../media/image56.png"/><Relationship Id="rId5" Type="http://schemas.openxmlformats.org/officeDocument/2006/relationships/tags" Target="../tags/tag33.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image" Target="../media/image55.png"/><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slideLayout" Target="../slideLayouts/slideLayout24.xml"/><Relationship Id="rId56" Type="http://schemas.openxmlformats.org/officeDocument/2006/relationships/image" Target="../media/image59.png"/><Relationship Id="rId8" Type="http://schemas.openxmlformats.org/officeDocument/2006/relationships/tags" Target="../tags/tag36.xml"/><Relationship Id="rId51" Type="http://schemas.openxmlformats.org/officeDocument/2006/relationships/image" Target="../media/image54.emf"/><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20" Type="http://schemas.openxmlformats.org/officeDocument/2006/relationships/tags" Target="../tags/tag48.xml"/><Relationship Id="rId41" Type="http://schemas.openxmlformats.org/officeDocument/2006/relationships/tags" Target="../tags/tag69.xml"/><Relationship Id="rId54" Type="http://schemas.openxmlformats.org/officeDocument/2006/relationships/image" Target="../media/image57.png"/><Relationship Id="rId1" Type="http://schemas.openxmlformats.org/officeDocument/2006/relationships/tags" Target="../tags/tag29.xml"/><Relationship Id="rId6" Type="http://schemas.openxmlformats.org/officeDocument/2006/relationships/tags" Target="../tags/tag34.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60.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image" Target="../media/image16.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oleObject" Target="../embeddings/oleObject2.bin"/><Relationship Id="rId2" Type="http://schemas.openxmlformats.org/officeDocument/2006/relationships/tags" Target="../tags/tag5.xml"/><Relationship Id="rId16" Type="http://schemas.openxmlformats.org/officeDocument/2006/relationships/image" Target="../media/image15.jpeg"/><Relationship Id="rId20" Type="http://schemas.openxmlformats.org/officeDocument/2006/relationships/image" Target="../media/image18.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notesSlide" Target="../notesSlides/notesSlide2.xml"/><Relationship Id="rId10" Type="http://schemas.openxmlformats.org/officeDocument/2006/relationships/tags" Target="../tags/tag13.xml"/><Relationship Id="rId19" Type="http://schemas.openxmlformats.org/officeDocument/2006/relationships/image" Target="../media/image17.pn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20.jpe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9.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1.emf"/><Relationship Id="rId5" Type="http://schemas.openxmlformats.org/officeDocument/2006/relationships/tags" Target="../tags/tag21.xml"/><Relationship Id="rId10" Type="http://schemas.openxmlformats.org/officeDocument/2006/relationships/oleObject" Target="../embeddings/oleObject3.bin"/><Relationship Id="rId4" Type="http://schemas.openxmlformats.org/officeDocument/2006/relationships/tags" Target="../tags/tag20.xml"/><Relationship Id="rId9" Type="http://schemas.openxmlformats.org/officeDocument/2006/relationships/notesSlide" Target="../notesSlides/notesSlide3.xml"/><Relationship Id="rId14" Type="http://schemas.openxmlformats.org/officeDocument/2006/relationships/image" Target="../media/image21.jpe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18" Type="http://schemas.openxmlformats.org/officeDocument/2006/relationships/image" Target="../media/image37.png"/><Relationship Id="rId3" Type="http://schemas.openxmlformats.org/officeDocument/2006/relationships/image" Target="../media/image22.jpeg"/><Relationship Id="rId21" Type="http://schemas.openxmlformats.org/officeDocument/2006/relationships/image" Target="../media/image40.sv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notesSlide" Target="../notesSlides/notesSlide4.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18.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5" Type="http://schemas.openxmlformats.org/officeDocument/2006/relationships/image" Target="../media/image34.svg"/><Relationship Id="rId10" Type="http://schemas.openxmlformats.org/officeDocument/2006/relationships/image" Target="../media/image29.png"/><Relationship Id="rId19" Type="http://schemas.openxmlformats.org/officeDocument/2006/relationships/image" Target="../media/image38.svg"/><Relationship Id="rId4" Type="http://schemas.openxmlformats.org/officeDocument/2006/relationships/image" Target="../media/image23.png"/><Relationship Id="rId9" Type="http://schemas.openxmlformats.org/officeDocument/2006/relationships/image" Target="../media/image28.svg"/><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26.xml"/><Relationship Id="rId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88A66737-6748-7BBF-32D3-27B64677E352}"/>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1949" b="11949"/>
          <a:stretch/>
        </p:blipFill>
        <p:spPr>
          <a:xfrm>
            <a:off x="5663503" y="1628775"/>
            <a:ext cx="6528497" cy="5229225"/>
          </a:xfrm>
        </p:spPr>
      </p:pic>
      <p:sp>
        <p:nvSpPr>
          <p:cNvPr id="3" name="Textplatzhalter 2">
            <a:extLst>
              <a:ext uri="{FF2B5EF4-FFF2-40B4-BE49-F238E27FC236}">
                <a16:creationId xmlns:a16="http://schemas.microsoft.com/office/drawing/2014/main" id="{47DA07A7-1FE7-21AC-3F06-45DE26309CDF}"/>
              </a:ext>
            </a:extLst>
          </p:cNvPr>
          <p:cNvSpPr>
            <a:spLocks noGrp="1"/>
          </p:cNvSpPr>
          <p:nvPr>
            <p:ph type="body" sz="quarter" idx="17"/>
          </p:nvPr>
        </p:nvSpPr>
        <p:spPr/>
        <p:txBody>
          <a:bodyPr/>
          <a:lstStyle/>
          <a:p>
            <a:endParaRPr lang="de-DE"/>
          </a:p>
        </p:txBody>
      </p:sp>
      <p:sp>
        <p:nvSpPr>
          <p:cNvPr id="4" name="Textplatzhalter 3">
            <a:extLst>
              <a:ext uri="{FF2B5EF4-FFF2-40B4-BE49-F238E27FC236}">
                <a16:creationId xmlns:a16="http://schemas.microsoft.com/office/drawing/2014/main" id="{BFEB6A36-BBB7-9DFF-23C2-599A526A55D9}"/>
              </a:ext>
            </a:extLst>
          </p:cNvPr>
          <p:cNvSpPr>
            <a:spLocks noGrp="1"/>
          </p:cNvSpPr>
          <p:nvPr>
            <p:ph type="body" sz="quarter" idx="18"/>
          </p:nvPr>
        </p:nvSpPr>
        <p:spPr/>
        <p:txBody>
          <a:bodyPr/>
          <a:lstStyle/>
          <a:p>
            <a:endParaRPr lang="de-DE"/>
          </a:p>
        </p:txBody>
      </p:sp>
      <p:sp>
        <p:nvSpPr>
          <p:cNvPr id="5" name="Textplatzhalter 4">
            <a:extLst>
              <a:ext uri="{FF2B5EF4-FFF2-40B4-BE49-F238E27FC236}">
                <a16:creationId xmlns:a16="http://schemas.microsoft.com/office/drawing/2014/main" id="{B15035B8-8A71-2611-3A11-52985953681E}"/>
              </a:ext>
            </a:extLst>
          </p:cNvPr>
          <p:cNvSpPr>
            <a:spLocks noGrp="1"/>
          </p:cNvSpPr>
          <p:nvPr>
            <p:ph type="body" sz="quarter" idx="19"/>
          </p:nvPr>
        </p:nvSpPr>
        <p:spPr/>
        <p:txBody>
          <a:bodyPr/>
          <a:lstStyle/>
          <a:p>
            <a:endParaRPr lang="de-DE"/>
          </a:p>
        </p:txBody>
      </p:sp>
      <p:sp>
        <p:nvSpPr>
          <p:cNvPr id="6" name="Textplatzhalter 5">
            <a:extLst>
              <a:ext uri="{FF2B5EF4-FFF2-40B4-BE49-F238E27FC236}">
                <a16:creationId xmlns:a16="http://schemas.microsoft.com/office/drawing/2014/main" id="{787C5476-C00E-1A29-A2E7-D211BE77B42C}"/>
              </a:ext>
            </a:extLst>
          </p:cNvPr>
          <p:cNvSpPr>
            <a:spLocks noGrp="1"/>
          </p:cNvSpPr>
          <p:nvPr>
            <p:ph type="body" sz="quarter" idx="20"/>
          </p:nvPr>
        </p:nvSpPr>
        <p:spPr/>
        <p:txBody>
          <a:bodyPr/>
          <a:lstStyle/>
          <a:p>
            <a:endParaRPr lang="de-DE"/>
          </a:p>
        </p:txBody>
      </p:sp>
      <p:sp>
        <p:nvSpPr>
          <p:cNvPr id="7" name="Textplatzhalter 6">
            <a:extLst>
              <a:ext uri="{FF2B5EF4-FFF2-40B4-BE49-F238E27FC236}">
                <a16:creationId xmlns:a16="http://schemas.microsoft.com/office/drawing/2014/main" id="{05496DBA-2C75-5137-374F-8D601E31DEF3}"/>
              </a:ext>
            </a:extLst>
          </p:cNvPr>
          <p:cNvSpPr>
            <a:spLocks noGrp="1"/>
          </p:cNvSpPr>
          <p:nvPr>
            <p:ph type="body" sz="quarter" idx="21"/>
          </p:nvPr>
        </p:nvSpPr>
        <p:spPr/>
        <p:txBody>
          <a:bodyPr/>
          <a:lstStyle/>
          <a:p>
            <a:endParaRPr lang="de-DE"/>
          </a:p>
        </p:txBody>
      </p:sp>
      <p:sp>
        <p:nvSpPr>
          <p:cNvPr id="8" name="Textplatzhalter 7">
            <a:extLst>
              <a:ext uri="{FF2B5EF4-FFF2-40B4-BE49-F238E27FC236}">
                <a16:creationId xmlns:a16="http://schemas.microsoft.com/office/drawing/2014/main" id="{69F98D14-8D6A-43FE-A2BD-3F366551DFA2}"/>
              </a:ext>
            </a:extLst>
          </p:cNvPr>
          <p:cNvSpPr>
            <a:spLocks noGrp="1"/>
          </p:cNvSpPr>
          <p:nvPr>
            <p:ph type="body" sz="quarter" idx="22"/>
          </p:nvPr>
        </p:nvSpPr>
        <p:spPr/>
        <p:txBody>
          <a:bodyPr/>
          <a:lstStyle/>
          <a:p>
            <a:endParaRPr lang="de-DE" dirty="0"/>
          </a:p>
        </p:txBody>
      </p:sp>
      <p:sp>
        <p:nvSpPr>
          <p:cNvPr id="9" name="Titel 8">
            <a:extLst>
              <a:ext uri="{FF2B5EF4-FFF2-40B4-BE49-F238E27FC236}">
                <a16:creationId xmlns:a16="http://schemas.microsoft.com/office/drawing/2014/main" id="{12170301-E964-7D93-EC3B-6CAA8E706764}"/>
              </a:ext>
            </a:extLst>
          </p:cNvPr>
          <p:cNvSpPr>
            <a:spLocks noGrp="1"/>
          </p:cNvSpPr>
          <p:nvPr>
            <p:ph type="ctrTitle"/>
          </p:nvPr>
        </p:nvSpPr>
        <p:spPr>
          <a:xfrm>
            <a:off x="13304" y="5513831"/>
            <a:ext cx="5788152" cy="1344169"/>
          </a:xfrm>
        </p:spPr>
        <p:txBody>
          <a:bodyPr/>
          <a:lstStyle/>
          <a:p>
            <a:br>
              <a:rPr lang="en-US" sz="2800" dirty="0"/>
            </a:br>
            <a:br>
              <a:rPr lang="en-US" sz="2800" dirty="0"/>
            </a:br>
            <a:br>
              <a:rPr lang="en-US" sz="2800" dirty="0"/>
            </a:br>
            <a:br>
              <a:rPr lang="en-US" sz="2800" dirty="0"/>
            </a:br>
            <a:br>
              <a:rPr lang="en-US" sz="2800" dirty="0"/>
            </a:br>
            <a:br>
              <a:rPr lang="en-US" sz="2800" dirty="0"/>
            </a:br>
            <a:br>
              <a:rPr lang="en-US" sz="2800" dirty="0"/>
            </a:br>
            <a:br>
              <a:rPr lang="en-US" sz="2800" dirty="0"/>
            </a:br>
            <a:br>
              <a:rPr lang="en-US" sz="2800" dirty="0"/>
            </a:br>
            <a:br>
              <a:rPr lang="en-US" sz="2800" dirty="0"/>
            </a:br>
            <a:br>
              <a:rPr lang="en-US" sz="2800" dirty="0"/>
            </a:br>
            <a:br>
              <a:rPr lang="en-US" sz="2800" dirty="0"/>
            </a:br>
            <a:r>
              <a:rPr lang="en-US" sz="2800" dirty="0"/>
              <a:t>BayWa </a:t>
            </a:r>
            <a:r>
              <a:rPr lang="en-US" sz="2800" dirty="0" err="1"/>
              <a:t>r.e</a:t>
            </a:r>
            <a:r>
              <a:rPr lang="en-US" sz="2800" dirty="0"/>
              <a:t>. in Romania: </a:t>
            </a:r>
            <a:br>
              <a:rPr lang="en-US" sz="2800" dirty="0"/>
            </a:br>
            <a:r>
              <a:rPr lang="en-US" sz="1900" dirty="0"/>
              <a:t>Harnessing Expertise</a:t>
            </a:r>
            <a:br>
              <a:rPr lang="en-US" sz="1700" dirty="0"/>
            </a:br>
            <a:br>
              <a:rPr lang="en-US" sz="1700" dirty="0"/>
            </a:br>
            <a:r>
              <a:rPr lang="de-DE" sz="1100" dirty="0"/>
              <a:t>Anamaria Acristini, Managing </a:t>
            </a:r>
            <a:r>
              <a:rPr lang="de-DE" sz="1100" dirty="0" err="1"/>
              <a:t>Director</a:t>
            </a:r>
            <a:r>
              <a:rPr lang="de-DE" sz="1100" dirty="0"/>
              <a:t> | BayWa </a:t>
            </a:r>
            <a:r>
              <a:rPr lang="de-DE" sz="1100" dirty="0" err="1"/>
              <a:t>r.e</a:t>
            </a:r>
            <a:r>
              <a:rPr lang="de-DE" sz="1100" dirty="0"/>
              <a:t>. Romania SRL</a:t>
            </a:r>
            <a:br>
              <a:rPr lang="de-DE" sz="1100" dirty="0"/>
            </a:br>
            <a:r>
              <a:rPr lang="de-DE" sz="1100" dirty="0"/>
              <a:t>Green Energy Conference, </a:t>
            </a:r>
            <a:r>
              <a:rPr lang="de-DE" sz="1100" dirty="0" err="1"/>
              <a:t>Bucharest</a:t>
            </a:r>
            <a:br>
              <a:rPr lang="de-DE" sz="1800" dirty="0"/>
            </a:br>
            <a:endParaRPr lang="de-DE" sz="1700" dirty="0"/>
          </a:p>
        </p:txBody>
      </p:sp>
    </p:spTree>
    <p:extLst>
      <p:ext uri="{BB962C8B-B14F-4D97-AF65-F5344CB8AC3E}">
        <p14:creationId xmlns:p14="http://schemas.microsoft.com/office/powerpoint/2010/main" val="1662895287"/>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el 79">
            <a:extLst>
              <a:ext uri="{FF2B5EF4-FFF2-40B4-BE49-F238E27FC236}">
                <a16:creationId xmlns:a16="http://schemas.microsoft.com/office/drawing/2014/main" id="{5D936E7C-8BAF-4443-AF1D-094DE1163284}"/>
              </a:ext>
            </a:extLst>
          </p:cNvPr>
          <p:cNvSpPr>
            <a:spLocks noGrp="1"/>
          </p:cNvSpPr>
          <p:nvPr>
            <p:ph type="title"/>
          </p:nvPr>
        </p:nvSpPr>
        <p:spPr>
          <a:xfrm>
            <a:off x="407367" y="692696"/>
            <a:ext cx="11376645" cy="648000"/>
          </a:xfrm>
        </p:spPr>
        <p:txBody>
          <a:bodyPr anchor="t">
            <a:normAutofit/>
          </a:bodyPr>
          <a:lstStyle/>
          <a:p>
            <a:r>
              <a:rPr lang="de-DE" dirty="0"/>
              <a:t>… 40 </a:t>
            </a:r>
            <a:r>
              <a:rPr lang="de-DE" dirty="0" err="1"/>
              <a:t>years</a:t>
            </a:r>
            <a:r>
              <a:rPr lang="de-DE" dirty="0"/>
              <a:t> </a:t>
            </a:r>
            <a:r>
              <a:rPr lang="de-DE" dirty="0" err="1"/>
              <a:t>lifetime</a:t>
            </a:r>
            <a:r>
              <a:rPr lang="de-DE" dirty="0"/>
              <a:t>?</a:t>
            </a:r>
          </a:p>
        </p:txBody>
      </p:sp>
      <p:pic>
        <p:nvPicPr>
          <p:cNvPr id="82" name="Grafik 81" descr="Ein Bild, das Gras, draußen, Himmel, Rauch enthält.&#10;&#10;Automatisch generierte Beschreibung">
            <a:extLst>
              <a:ext uri="{FF2B5EF4-FFF2-40B4-BE49-F238E27FC236}">
                <a16:creationId xmlns:a16="http://schemas.microsoft.com/office/drawing/2014/main" id="{4972088C-2FF4-4DCB-9AB5-D75A8134E359}"/>
              </a:ext>
            </a:extLst>
          </p:cNvPr>
          <p:cNvPicPr>
            <a:picLocks noChangeAspect="1"/>
          </p:cNvPicPr>
          <p:nvPr/>
        </p:nvPicPr>
        <p:blipFill rotWithShape="1">
          <a:blip r:embed="rId2">
            <a:extLst>
              <a:ext uri="{28A0092B-C50C-407E-A947-70E740481C1C}">
                <a14:useLocalDpi xmlns:a14="http://schemas.microsoft.com/office/drawing/2010/main" val="0"/>
              </a:ext>
            </a:extLst>
          </a:blip>
          <a:srcRect t="36472"/>
          <a:stretch/>
        </p:blipFill>
        <p:spPr>
          <a:xfrm>
            <a:off x="407368" y="1557328"/>
            <a:ext cx="11376000" cy="4824000"/>
          </a:xfrm>
          <a:prstGeom prst="rect">
            <a:avLst/>
          </a:prstGeom>
          <a:noFill/>
        </p:spPr>
      </p:pic>
      <p:sp>
        <p:nvSpPr>
          <p:cNvPr id="3" name="Foliennummernplatzhalter 2">
            <a:extLst>
              <a:ext uri="{FF2B5EF4-FFF2-40B4-BE49-F238E27FC236}">
                <a16:creationId xmlns:a16="http://schemas.microsoft.com/office/drawing/2014/main" id="{42AA5A1B-005F-4761-A8BF-3B48CE5B4587}"/>
              </a:ext>
            </a:extLst>
          </p:cNvPr>
          <p:cNvSpPr>
            <a:spLocks noGrp="1"/>
          </p:cNvSpPr>
          <p:nvPr>
            <p:ph type="sldNum" sz="quarter" idx="12"/>
          </p:nvPr>
        </p:nvSpPr>
        <p:spPr>
          <a:xfrm>
            <a:off x="11568632" y="6561368"/>
            <a:ext cx="216000" cy="180000"/>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B140A39-527A-45CF-A911-B921024B92E6}" type="slidenum">
              <a:rPr kumimoji="0" lang="en-US"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A0D1E45-D2E1-419E-A5AD-95653F9618D6}"/>
              </a:ext>
            </a:extLst>
          </p:cNvPr>
          <p:cNvSpPr>
            <a:spLocks noGrp="1"/>
          </p:cNvSpPr>
          <p:nvPr>
            <p:ph type="ftr" sz="quarter" idx="13"/>
          </p:nvPr>
        </p:nvSpPr>
        <p:spPr>
          <a:xfrm>
            <a:off x="6095999" y="6561368"/>
            <a:ext cx="5364000" cy="180000"/>
          </a:xfrm>
        </p:spPr>
        <p:txBody>
          <a:bodyPr anchor="ctr">
            <a:norm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600" b="0" i="0" u="none" strike="noStrike" kern="1200" cap="none" spc="0" normalizeH="0" baseline="0" noProof="0">
                <a:ln>
                  <a:noFill/>
                </a:ln>
                <a:solidFill>
                  <a:prstClr val="white"/>
                </a:solidFill>
                <a:effectLst/>
                <a:uLnTx/>
                <a:uFillTx/>
                <a:latin typeface="Arial"/>
                <a:ea typeface="+mn-ea"/>
                <a:cs typeface="+mn-cs"/>
              </a:rPr>
              <a:t>BayWa r.e. 2022 - How to minimize LCOE</a:t>
            </a:r>
          </a:p>
        </p:txBody>
      </p:sp>
      <p:sp>
        <p:nvSpPr>
          <p:cNvPr id="6" name="Textfeld 5">
            <a:extLst>
              <a:ext uri="{FF2B5EF4-FFF2-40B4-BE49-F238E27FC236}">
                <a16:creationId xmlns:a16="http://schemas.microsoft.com/office/drawing/2014/main" id="{7E6E4210-0362-4184-A1AB-A749FBC2AEC8}"/>
              </a:ext>
            </a:extLst>
          </p:cNvPr>
          <p:cNvSpPr txBox="1"/>
          <p:nvPr/>
        </p:nvSpPr>
        <p:spPr>
          <a:xfrm>
            <a:off x="6734997" y="756585"/>
            <a:ext cx="5048371" cy="648000"/>
          </a:xfrm>
          <a:prstGeom prst="rect">
            <a:avLst/>
          </a:prstGeom>
          <a:noFill/>
        </p:spPr>
        <p:txBody>
          <a:bodyPr wrap="square" lIns="108000" tIns="72000" rIns="108000" bIns="72000" rtlCol="0">
            <a:noAutofit/>
          </a:bodyPr>
          <a:lstStyle/>
          <a:p>
            <a:pPr marL="0" marR="0" lvl="0" indent="0" algn="r" defTabSz="914400" rtl="0" eaLnBrk="1" fontAlgn="auto" latinLnBrk="0" hangingPunct="1">
              <a:lnSpc>
                <a:spcPct val="100000"/>
              </a:lnSpc>
              <a:spcBef>
                <a:spcPts val="0"/>
              </a:spcBef>
              <a:spcAft>
                <a:spcPts val="0"/>
              </a:spcAft>
              <a:buClr>
                <a:srgbClr val="78B90F"/>
              </a:buClr>
              <a:buSzTx/>
              <a:buFontTx/>
              <a:buNone/>
              <a:tabLst/>
              <a:defRPr/>
            </a:pPr>
            <a:r>
              <a:rPr kumimoji="0" lang="de-DE" sz="1600" b="0" i="0" u="none" strike="noStrike" kern="1200" cap="none" spc="0" normalizeH="0" baseline="0" noProof="0" dirty="0" err="1">
                <a:ln>
                  <a:noFill/>
                </a:ln>
                <a:solidFill>
                  <a:prstClr val="white"/>
                </a:solidFill>
                <a:effectLst/>
                <a:uLnTx/>
                <a:uFillTx/>
                <a:latin typeface="Arial"/>
                <a:ea typeface="+mn-ea"/>
                <a:cs typeface="+mn-cs"/>
              </a:rPr>
              <a:t>unsufficient</a:t>
            </a:r>
            <a:r>
              <a:rPr kumimoji="0" lang="de-DE" sz="1600" b="0" i="0" u="none" strike="noStrike" kern="1200" cap="none" spc="0" normalizeH="0" baseline="0" noProof="0" dirty="0">
                <a:ln>
                  <a:noFill/>
                </a:ln>
                <a:solidFill>
                  <a:prstClr val="white"/>
                </a:solidFill>
                <a:effectLst/>
                <a:uLnTx/>
                <a:uFillTx/>
                <a:latin typeface="Arial"/>
                <a:ea typeface="+mn-ea"/>
                <a:cs typeface="+mn-cs"/>
              </a:rPr>
              <a:t> AC </a:t>
            </a:r>
            <a:r>
              <a:rPr kumimoji="0" lang="de-DE" sz="1600" b="0" i="0" u="none" strike="noStrike" kern="1200" cap="none" spc="0" normalizeH="0" baseline="0" noProof="0" dirty="0" err="1">
                <a:ln>
                  <a:noFill/>
                </a:ln>
                <a:solidFill>
                  <a:prstClr val="white"/>
                </a:solidFill>
                <a:effectLst/>
                <a:uLnTx/>
                <a:uFillTx/>
                <a:latin typeface="Arial"/>
                <a:ea typeface="+mn-ea"/>
                <a:cs typeface="+mn-cs"/>
              </a:rPr>
              <a:t>cabling</a:t>
            </a:r>
            <a:endParaRPr kumimoji="0" lang="de-D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r" defTabSz="914400" rtl="0" eaLnBrk="1" fontAlgn="auto" latinLnBrk="0" hangingPunct="1">
              <a:lnSpc>
                <a:spcPct val="100000"/>
              </a:lnSpc>
              <a:spcBef>
                <a:spcPts val="0"/>
              </a:spcBef>
              <a:spcAft>
                <a:spcPts val="0"/>
              </a:spcAft>
              <a:buClr>
                <a:srgbClr val="78B90F"/>
              </a:buClr>
              <a:buSzTx/>
              <a:buFontTx/>
              <a:buNone/>
              <a:tabLst/>
              <a:defRPr/>
            </a:pPr>
            <a:r>
              <a:rPr kumimoji="0" lang="de-DE" sz="1600" b="0" i="1" u="none" strike="noStrike" kern="1200" cap="none" spc="0" normalizeH="0" baseline="0" noProof="0" dirty="0" err="1">
                <a:ln>
                  <a:noFill/>
                </a:ln>
                <a:solidFill>
                  <a:prstClr val="white"/>
                </a:solidFill>
                <a:effectLst/>
                <a:uLnTx/>
                <a:uFillTx/>
                <a:latin typeface="Arial"/>
                <a:ea typeface="+mn-ea"/>
                <a:cs typeface="+mn-cs"/>
              </a:rPr>
              <a:t>Fire</a:t>
            </a:r>
            <a:endParaRPr kumimoji="0" lang="de-DE" sz="1600" b="0" i="1"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995575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el 79">
            <a:extLst>
              <a:ext uri="{FF2B5EF4-FFF2-40B4-BE49-F238E27FC236}">
                <a16:creationId xmlns:a16="http://schemas.microsoft.com/office/drawing/2014/main" id="{5D936E7C-8BAF-4443-AF1D-094DE1163284}"/>
              </a:ext>
            </a:extLst>
          </p:cNvPr>
          <p:cNvSpPr>
            <a:spLocks noGrp="1"/>
          </p:cNvSpPr>
          <p:nvPr>
            <p:ph type="title"/>
          </p:nvPr>
        </p:nvSpPr>
        <p:spPr>
          <a:xfrm>
            <a:off x="407367" y="692696"/>
            <a:ext cx="11376645" cy="648000"/>
          </a:xfrm>
        </p:spPr>
        <p:txBody>
          <a:bodyPr anchor="t">
            <a:normAutofit/>
          </a:bodyPr>
          <a:lstStyle/>
          <a:p>
            <a:r>
              <a:rPr lang="de-DE" dirty="0"/>
              <a:t>… 40 </a:t>
            </a:r>
            <a:r>
              <a:rPr lang="de-DE" dirty="0" err="1"/>
              <a:t>years</a:t>
            </a:r>
            <a:r>
              <a:rPr lang="de-DE" dirty="0"/>
              <a:t> </a:t>
            </a:r>
            <a:r>
              <a:rPr lang="de-DE" dirty="0" err="1"/>
              <a:t>lifetime</a:t>
            </a:r>
            <a:r>
              <a:rPr lang="de-DE" dirty="0"/>
              <a:t>?</a:t>
            </a:r>
          </a:p>
        </p:txBody>
      </p:sp>
      <p:pic>
        <p:nvPicPr>
          <p:cNvPr id="82" name="Grafik 81">
            <a:extLst>
              <a:ext uri="{FF2B5EF4-FFF2-40B4-BE49-F238E27FC236}">
                <a16:creationId xmlns:a16="http://schemas.microsoft.com/office/drawing/2014/main" id="{4972088C-2FF4-4DCB-9AB5-D75A8134E359}"/>
              </a:ext>
            </a:extLst>
          </p:cNvPr>
          <p:cNvPicPr>
            <a:picLocks noChangeAspect="1"/>
          </p:cNvPicPr>
          <p:nvPr/>
        </p:nvPicPr>
        <p:blipFill>
          <a:blip r:embed="rId2">
            <a:extLst>
              <a:ext uri="{28A0092B-C50C-407E-A947-70E740481C1C}">
                <a14:useLocalDpi xmlns:a14="http://schemas.microsoft.com/office/drawing/2010/main" val="0"/>
              </a:ext>
            </a:extLst>
          </a:blip>
          <a:srcRect t="18068" b="18068"/>
          <a:stretch/>
        </p:blipFill>
        <p:spPr>
          <a:xfrm>
            <a:off x="407368" y="1557328"/>
            <a:ext cx="11376000" cy="4824000"/>
          </a:xfrm>
          <a:prstGeom prst="rect">
            <a:avLst/>
          </a:prstGeom>
          <a:noFill/>
        </p:spPr>
      </p:pic>
      <p:sp>
        <p:nvSpPr>
          <p:cNvPr id="3" name="Foliennummernplatzhalter 2">
            <a:extLst>
              <a:ext uri="{FF2B5EF4-FFF2-40B4-BE49-F238E27FC236}">
                <a16:creationId xmlns:a16="http://schemas.microsoft.com/office/drawing/2014/main" id="{42AA5A1B-005F-4761-A8BF-3B48CE5B4587}"/>
              </a:ext>
            </a:extLst>
          </p:cNvPr>
          <p:cNvSpPr>
            <a:spLocks noGrp="1"/>
          </p:cNvSpPr>
          <p:nvPr>
            <p:ph type="sldNum" sz="quarter" idx="12"/>
          </p:nvPr>
        </p:nvSpPr>
        <p:spPr>
          <a:xfrm>
            <a:off x="11568632" y="6561368"/>
            <a:ext cx="216000" cy="180000"/>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B140A39-527A-45CF-A911-B921024B92E6}" type="slidenum">
              <a:rPr kumimoji="0" lang="en-US"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A0D1E45-D2E1-419E-A5AD-95653F9618D6}"/>
              </a:ext>
            </a:extLst>
          </p:cNvPr>
          <p:cNvSpPr>
            <a:spLocks noGrp="1"/>
          </p:cNvSpPr>
          <p:nvPr>
            <p:ph type="ftr" sz="quarter" idx="13"/>
          </p:nvPr>
        </p:nvSpPr>
        <p:spPr>
          <a:xfrm>
            <a:off x="6095999" y="6561368"/>
            <a:ext cx="5364000" cy="180000"/>
          </a:xfrm>
        </p:spPr>
        <p:txBody>
          <a:bodyPr anchor="ctr">
            <a:norm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600" b="0" i="0" u="none" strike="noStrike" kern="1200" cap="none" spc="0" normalizeH="0" baseline="0" noProof="0">
                <a:ln>
                  <a:noFill/>
                </a:ln>
                <a:solidFill>
                  <a:prstClr val="white"/>
                </a:solidFill>
                <a:effectLst/>
                <a:uLnTx/>
                <a:uFillTx/>
                <a:latin typeface="Arial"/>
                <a:ea typeface="+mn-ea"/>
                <a:cs typeface="+mn-cs"/>
              </a:rPr>
              <a:t>BayWa r.e. 2022 - How to minimize LCOE</a:t>
            </a:r>
          </a:p>
        </p:txBody>
      </p:sp>
      <p:sp>
        <p:nvSpPr>
          <p:cNvPr id="6" name="Textfeld 5">
            <a:extLst>
              <a:ext uri="{FF2B5EF4-FFF2-40B4-BE49-F238E27FC236}">
                <a16:creationId xmlns:a16="http://schemas.microsoft.com/office/drawing/2014/main" id="{366E2057-21F5-43A8-AB76-098ADB6A185A}"/>
              </a:ext>
            </a:extLst>
          </p:cNvPr>
          <p:cNvSpPr txBox="1"/>
          <p:nvPr/>
        </p:nvSpPr>
        <p:spPr>
          <a:xfrm>
            <a:off x="6734997" y="756585"/>
            <a:ext cx="5048371" cy="648000"/>
          </a:xfrm>
          <a:prstGeom prst="rect">
            <a:avLst/>
          </a:prstGeom>
          <a:noFill/>
        </p:spPr>
        <p:txBody>
          <a:bodyPr wrap="square" lIns="108000" tIns="72000" rIns="108000" bIns="72000" rtlCol="0">
            <a:noAutofit/>
          </a:bodyPr>
          <a:lstStyle/>
          <a:p>
            <a:pPr marL="0" marR="0" lvl="0" indent="0" algn="r" defTabSz="914400" rtl="0" eaLnBrk="1" fontAlgn="auto" latinLnBrk="0" hangingPunct="1">
              <a:lnSpc>
                <a:spcPct val="100000"/>
              </a:lnSpc>
              <a:spcBef>
                <a:spcPts val="0"/>
              </a:spcBef>
              <a:spcAft>
                <a:spcPts val="0"/>
              </a:spcAft>
              <a:buClr>
                <a:srgbClr val="78B90F"/>
              </a:buClr>
              <a:buSzTx/>
              <a:buFontTx/>
              <a:buNone/>
              <a:tabLst/>
              <a:defRPr/>
            </a:pPr>
            <a:r>
              <a:rPr kumimoji="0" lang="de-DE" sz="1600" b="0" i="0" u="none" strike="noStrike" kern="1200" cap="none" spc="0" normalizeH="0" baseline="0" noProof="0" dirty="0" err="1">
                <a:ln>
                  <a:noFill/>
                </a:ln>
                <a:solidFill>
                  <a:prstClr val="white"/>
                </a:solidFill>
                <a:effectLst/>
                <a:uLnTx/>
                <a:uFillTx/>
                <a:latin typeface="Arial"/>
                <a:ea typeface="+mn-ea"/>
                <a:cs typeface="+mn-cs"/>
              </a:rPr>
              <a:t>unsufficient</a:t>
            </a:r>
            <a:r>
              <a:rPr kumimoji="0" lang="de-DE" sz="1600" b="0" i="0" u="none" strike="noStrike" kern="1200" cap="none" spc="0" normalizeH="0" baseline="0" noProof="0" dirty="0">
                <a:ln>
                  <a:noFill/>
                </a:ln>
                <a:solidFill>
                  <a:prstClr val="white"/>
                </a:solidFill>
                <a:effectLst/>
                <a:uLnTx/>
                <a:uFillTx/>
                <a:latin typeface="Arial"/>
                <a:ea typeface="+mn-ea"/>
                <a:cs typeface="+mn-cs"/>
              </a:rPr>
              <a:t> </a:t>
            </a:r>
            <a:r>
              <a:rPr kumimoji="0" lang="de-DE" sz="1600" b="0" i="0" u="none" strike="noStrike" kern="1200" cap="none" spc="0" normalizeH="0" baseline="0" noProof="0" dirty="0" err="1">
                <a:ln>
                  <a:noFill/>
                </a:ln>
                <a:solidFill>
                  <a:prstClr val="white"/>
                </a:solidFill>
                <a:effectLst/>
                <a:uLnTx/>
                <a:uFillTx/>
                <a:latin typeface="Arial"/>
                <a:ea typeface="+mn-ea"/>
                <a:cs typeface="+mn-cs"/>
              </a:rPr>
              <a:t>flood</a:t>
            </a:r>
            <a:r>
              <a:rPr kumimoji="0" lang="de-DE" sz="1600" b="0" i="0" u="none" strike="noStrike" kern="1200" cap="none" spc="0" normalizeH="0" baseline="0" noProof="0" dirty="0">
                <a:ln>
                  <a:noFill/>
                </a:ln>
                <a:solidFill>
                  <a:prstClr val="white"/>
                </a:solidFill>
                <a:effectLst/>
                <a:uLnTx/>
                <a:uFillTx/>
                <a:latin typeface="Arial"/>
                <a:ea typeface="+mn-ea"/>
                <a:cs typeface="+mn-cs"/>
              </a:rPr>
              <a:t> </a:t>
            </a:r>
            <a:r>
              <a:rPr kumimoji="0" lang="de-DE" sz="1600" b="0" i="0" u="none" strike="noStrike" kern="1200" cap="none" spc="0" normalizeH="0" baseline="0" noProof="0" dirty="0" err="1">
                <a:ln>
                  <a:noFill/>
                </a:ln>
                <a:solidFill>
                  <a:prstClr val="white"/>
                </a:solidFill>
                <a:effectLst/>
                <a:uLnTx/>
                <a:uFillTx/>
                <a:latin typeface="Arial"/>
                <a:ea typeface="+mn-ea"/>
                <a:cs typeface="+mn-cs"/>
              </a:rPr>
              <a:t>protection</a:t>
            </a:r>
            <a:endParaRPr kumimoji="0" lang="de-D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r" defTabSz="914400" rtl="0" eaLnBrk="1" fontAlgn="auto" latinLnBrk="0" hangingPunct="1">
              <a:lnSpc>
                <a:spcPct val="100000"/>
              </a:lnSpc>
              <a:spcBef>
                <a:spcPts val="0"/>
              </a:spcBef>
              <a:spcAft>
                <a:spcPts val="0"/>
              </a:spcAft>
              <a:buClr>
                <a:srgbClr val="78B90F"/>
              </a:buClr>
              <a:buSzTx/>
              <a:buFontTx/>
              <a:buNone/>
              <a:tabLst/>
              <a:defRPr/>
            </a:pPr>
            <a:r>
              <a:rPr kumimoji="0" lang="de-DE" sz="1600" b="0" i="1" u="none" strike="noStrike" kern="1200" cap="none" spc="0" normalizeH="0" baseline="0" noProof="0" dirty="0">
                <a:ln>
                  <a:noFill/>
                </a:ln>
                <a:solidFill>
                  <a:prstClr val="white"/>
                </a:solidFill>
                <a:effectLst/>
                <a:uLnTx/>
                <a:uFillTx/>
                <a:latin typeface="Arial"/>
                <a:ea typeface="+mn-ea"/>
                <a:cs typeface="+mn-cs"/>
              </a:rPr>
              <a:t>Flooding</a:t>
            </a:r>
          </a:p>
        </p:txBody>
      </p:sp>
    </p:spTree>
    <p:extLst>
      <p:ext uri="{BB962C8B-B14F-4D97-AF65-F5344CB8AC3E}">
        <p14:creationId xmlns:p14="http://schemas.microsoft.com/office/powerpoint/2010/main" val="3615555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F5430-CF8A-80C7-5F1F-9A4BC933A451}"/>
              </a:ext>
            </a:extLst>
          </p:cNvPr>
          <p:cNvSpPr>
            <a:spLocks noGrp="1"/>
          </p:cNvSpPr>
          <p:nvPr>
            <p:ph type="title"/>
          </p:nvPr>
        </p:nvSpPr>
        <p:spPr>
          <a:xfrm>
            <a:off x="407367" y="692696"/>
            <a:ext cx="11376645" cy="648000"/>
          </a:xfrm>
        </p:spPr>
        <p:txBody>
          <a:bodyPr anchor="t">
            <a:normAutofit/>
          </a:bodyPr>
          <a:lstStyle/>
          <a:p>
            <a:r>
              <a:rPr lang="en-US" dirty="0"/>
              <a:t>To offer the lowest LCOE means:</a:t>
            </a:r>
          </a:p>
        </p:txBody>
      </p:sp>
      <p:sp>
        <p:nvSpPr>
          <p:cNvPr id="4" name="Slide Number Placeholder 3">
            <a:extLst>
              <a:ext uri="{FF2B5EF4-FFF2-40B4-BE49-F238E27FC236}">
                <a16:creationId xmlns:a16="http://schemas.microsoft.com/office/drawing/2014/main" id="{0AB87A91-7153-1164-28E6-14314711646F}"/>
              </a:ext>
            </a:extLst>
          </p:cNvPr>
          <p:cNvSpPr>
            <a:spLocks noGrp="1"/>
          </p:cNvSpPr>
          <p:nvPr>
            <p:ph type="sldNum" sz="quarter" idx="12"/>
          </p:nvPr>
        </p:nvSpPr>
        <p:spPr>
          <a:xfrm>
            <a:off x="11568632" y="6561368"/>
            <a:ext cx="216000" cy="180000"/>
          </a:xfrm>
        </p:spPr>
        <p:txBody>
          <a:bodyPr wrap="none" anchor="ctr">
            <a:normAutofit/>
          </a:bodyPr>
          <a:lstStyle/>
          <a:p>
            <a:pPr>
              <a:spcAft>
                <a:spcPts val="600"/>
              </a:spcAft>
            </a:pPr>
            <a:fld id="{3B140A39-527A-45CF-A911-B921024B92E6}" type="slidenum">
              <a:rPr lang="en-US" smtClean="0"/>
              <a:pPr>
                <a:spcAft>
                  <a:spcPts val="600"/>
                </a:spcAft>
              </a:pPr>
              <a:t>12</a:t>
            </a:fld>
            <a:endParaRPr lang="en-US"/>
          </a:p>
        </p:txBody>
      </p:sp>
      <p:sp>
        <p:nvSpPr>
          <p:cNvPr id="11" name="Content Placeholder 4">
            <a:extLst>
              <a:ext uri="{FF2B5EF4-FFF2-40B4-BE49-F238E27FC236}">
                <a16:creationId xmlns:a16="http://schemas.microsoft.com/office/drawing/2014/main" id="{4DA10C9E-A1A4-3318-67A4-887EAFC995B1}"/>
              </a:ext>
            </a:extLst>
          </p:cNvPr>
          <p:cNvSpPr>
            <a:spLocks noGrp="1"/>
          </p:cNvSpPr>
          <p:nvPr>
            <p:ph idx="13"/>
          </p:nvPr>
        </p:nvSpPr>
        <p:spPr>
          <a:xfrm>
            <a:off x="3616566" y="5404509"/>
            <a:ext cx="5472000" cy="403447"/>
          </a:xfrm>
        </p:spPr>
        <p:txBody>
          <a:bodyPr>
            <a:normAutofit/>
          </a:bodyPr>
          <a:lstStyle/>
          <a:p>
            <a:r>
              <a:rPr lang="en-US" sz="1900" dirty="0">
                <a:solidFill>
                  <a:schemeClr val="tx1"/>
                </a:solidFill>
              </a:rPr>
              <a:t>‘… a poor man buys cheap, hence expensive’</a:t>
            </a:r>
          </a:p>
        </p:txBody>
      </p:sp>
      <p:graphicFrame>
        <p:nvGraphicFramePr>
          <p:cNvPr id="7" name="Content Placeholder 2">
            <a:extLst>
              <a:ext uri="{FF2B5EF4-FFF2-40B4-BE49-F238E27FC236}">
                <a16:creationId xmlns:a16="http://schemas.microsoft.com/office/drawing/2014/main" id="{E8D11C6F-FA4B-ADD4-F17F-893F21CE8516}"/>
              </a:ext>
            </a:extLst>
          </p:cNvPr>
          <p:cNvGraphicFramePr>
            <a:graphicFrameLocks noGrp="1"/>
          </p:cNvGraphicFramePr>
          <p:nvPr>
            <p:ph idx="1"/>
            <p:extLst>
              <p:ext uri="{D42A27DB-BD31-4B8C-83A1-F6EECF244321}">
                <p14:modId xmlns:p14="http://schemas.microsoft.com/office/powerpoint/2010/main" val="1558740519"/>
              </p:ext>
            </p:extLst>
          </p:nvPr>
        </p:nvGraphicFramePr>
        <p:xfrm>
          <a:off x="407368" y="1818473"/>
          <a:ext cx="11161264" cy="29107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19991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F1CC5EF-D243-4D82-8F8C-AF158ACBD1D2}"/>
              </a:ext>
            </a:extLst>
          </p:cNvPr>
          <p:cNvSpPr>
            <a:spLocks noGrp="1"/>
          </p:cNvSpPr>
          <p:nvPr>
            <p:ph type="title"/>
          </p:nvPr>
        </p:nvSpPr>
        <p:spPr>
          <a:xfrm>
            <a:off x="407367" y="692696"/>
            <a:ext cx="11376645" cy="648000"/>
          </a:xfrm>
        </p:spPr>
        <p:txBody>
          <a:bodyPr vert="horz" lIns="0" tIns="0" rIns="0" bIns="0" rtlCol="0" anchor="t">
            <a:normAutofit/>
          </a:bodyPr>
          <a:lstStyle/>
          <a:p>
            <a:r>
              <a:rPr lang="en-US" b="1" kern="1200" dirty="0">
                <a:latin typeface="+mj-lt"/>
                <a:ea typeface="+mj-ea"/>
                <a:cs typeface="+mj-cs"/>
              </a:rPr>
              <a:t>Our innovative approach going beyond PV – wind farms from mountain to sea</a:t>
            </a:r>
          </a:p>
        </p:txBody>
      </p:sp>
      <p:pic>
        <p:nvPicPr>
          <p:cNvPr id="12" name="Content Placeholder 11">
            <a:extLst>
              <a:ext uri="{FF2B5EF4-FFF2-40B4-BE49-F238E27FC236}">
                <a16:creationId xmlns:a16="http://schemas.microsoft.com/office/drawing/2014/main" id="{8194176D-2C87-6718-F4B8-0838CFEEBCEA}"/>
              </a:ext>
            </a:extLst>
          </p:cNvPr>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t="2381" b="2381"/>
          <a:stretch/>
        </p:blipFill>
        <p:spPr>
          <a:xfrm>
            <a:off x="1058304" y="1470278"/>
            <a:ext cx="4592688" cy="2519061"/>
          </a:xfrm>
          <a:noFill/>
        </p:spPr>
      </p:pic>
      <p:sp>
        <p:nvSpPr>
          <p:cNvPr id="29" name="Slide Number Placeholder 3">
            <a:extLst>
              <a:ext uri="{FF2B5EF4-FFF2-40B4-BE49-F238E27FC236}">
                <a16:creationId xmlns:a16="http://schemas.microsoft.com/office/drawing/2014/main" id="{05867EA5-CE9A-9CE9-744E-F0217DDA2C1F}"/>
              </a:ext>
            </a:extLst>
          </p:cNvPr>
          <p:cNvSpPr>
            <a:spLocks noGrp="1"/>
          </p:cNvSpPr>
          <p:nvPr>
            <p:ph type="sldNum" sz="quarter" idx="12"/>
          </p:nvPr>
        </p:nvSpPr>
        <p:spPr>
          <a:xfrm>
            <a:off x="11568632" y="6561368"/>
            <a:ext cx="216000" cy="180000"/>
          </a:xfrm>
        </p:spPr>
        <p:txBody>
          <a:bodyPr vert="horz" wrap="none" lIns="0" tIns="0" rIns="0" bIns="0" rtlCol="0" anchor="ctr">
            <a:normAutofit/>
          </a:bodyPr>
          <a:lstStyle/>
          <a:p>
            <a:pPr>
              <a:spcAft>
                <a:spcPts val="600"/>
              </a:spcAft>
            </a:pPr>
            <a:fld id="{3B140A39-527A-45CF-A911-B921024B92E6}" type="slidenum">
              <a:rPr lang="en-US" smtClean="0"/>
              <a:pPr>
                <a:spcAft>
                  <a:spcPts val="600"/>
                </a:spcAft>
              </a:pPr>
              <a:t>13</a:t>
            </a:fld>
            <a:endParaRPr lang="en-US"/>
          </a:p>
        </p:txBody>
      </p:sp>
      <p:sp>
        <p:nvSpPr>
          <p:cNvPr id="3" name="Foliennummernplatzhalter 2" hidden="1">
            <a:extLst>
              <a:ext uri="{FF2B5EF4-FFF2-40B4-BE49-F238E27FC236}">
                <a16:creationId xmlns:a16="http://schemas.microsoft.com/office/drawing/2014/main" id="{4718BD8C-01E7-469D-84F0-58AB0877BC8B}"/>
              </a:ext>
            </a:extLst>
          </p:cNvPr>
          <p:cNvSpPr>
            <a:spLocks noGrp="1"/>
          </p:cNvSpPr>
          <p:nvPr>
            <p:ph type="sldNum" sz="quarter" idx="4294967295"/>
          </p:nvPr>
        </p:nvSpPr>
        <p:spPr>
          <a:xfrm>
            <a:off x="11568632" y="6561368"/>
            <a:ext cx="216000" cy="180000"/>
          </a:xfrm>
        </p:spPr>
        <p:txBody>
          <a:bodyPr wrap="none" anchor="ctr">
            <a:normAutofit/>
          </a:bodyPr>
          <a:lstStyle/>
          <a:p>
            <a:pPr>
              <a:spcAft>
                <a:spcPts val="600"/>
              </a:spcAft>
            </a:pPr>
            <a:fld id="{3B140A39-527A-45CF-A911-B921024B92E6}" type="slidenum">
              <a:rPr lang="en-GB" smtClean="0"/>
              <a:pPr>
                <a:spcAft>
                  <a:spcPts val="600"/>
                </a:spcAft>
              </a:pPr>
              <a:t>13</a:t>
            </a:fld>
            <a:endParaRPr lang="en-GB"/>
          </a:p>
        </p:txBody>
      </p:sp>
      <p:sp>
        <p:nvSpPr>
          <p:cNvPr id="27" name="Textplatzhalter 15">
            <a:extLst>
              <a:ext uri="{FF2B5EF4-FFF2-40B4-BE49-F238E27FC236}">
                <a16:creationId xmlns:a16="http://schemas.microsoft.com/office/drawing/2014/main" id="{EE91AA98-71E1-F1E9-F576-0B6025E1419C}"/>
              </a:ext>
            </a:extLst>
          </p:cNvPr>
          <p:cNvSpPr txBox="1">
            <a:spLocks/>
          </p:cNvSpPr>
          <p:nvPr>
            <p:custDataLst>
              <p:tags r:id="rId1"/>
            </p:custDataLst>
          </p:nvPr>
        </p:nvSpPr>
        <p:spPr bwMode="gray">
          <a:xfrm>
            <a:off x="1058304" y="4229541"/>
            <a:ext cx="4592688" cy="1615078"/>
          </a:xfrm>
          <a:prstGeom prst="roundRect">
            <a:avLst>
              <a:gd name="adj" fmla="val 4643"/>
            </a:avLst>
          </a:prstGeom>
          <a:solidFill>
            <a:schemeClr val="accent1"/>
          </a:solidFill>
          <a:ln>
            <a:noFill/>
          </a:ln>
        </p:spPr>
        <p:txBody>
          <a:bodyPr lIns="108000" tIns="72000" rIns="108000" bIns="7200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We have a history of successfully dealing with the complex demands of wind energy projects in semi-mountainous regions where temperatures, wind, snow, ice and altitude pose particular challenges for people, machines and equipment.</a:t>
            </a:r>
          </a:p>
        </p:txBody>
      </p:sp>
      <p:sp>
        <p:nvSpPr>
          <p:cNvPr id="32" name="Textplatzhalter 15">
            <a:extLst>
              <a:ext uri="{FF2B5EF4-FFF2-40B4-BE49-F238E27FC236}">
                <a16:creationId xmlns:a16="http://schemas.microsoft.com/office/drawing/2014/main" id="{26408EAB-AFF6-7DAB-F2BD-CA74BB510757}"/>
              </a:ext>
            </a:extLst>
          </p:cNvPr>
          <p:cNvSpPr txBox="1">
            <a:spLocks/>
          </p:cNvSpPr>
          <p:nvPr>
            <p:custDataLst>
              <p:tags r:id="rId2"/>
            </p:custDataLst>
          </p:nvPr>
        </p:nvSpPr>
        <p:spPr bwMode="gray">
          <a:xfrm>
            <a:off x="6541008" y="4229540"/>
            <a:ext cx="4592688" cy="1615078"/>
          </a:xfrm>
          <a:prstGeom prst="roundRect">
            <a:avLst>
              <a:gd name="adj" fmla="val 4643"/>
            </a:avLst>
          </a:prstGeom>
          <a:solidFill>
            <a:schemeClr val="accent1"/>
          </a:solidFill>
          <a:ln>
            <a:noFill/>
          </a:ln>
        </p:spPr>
        <p:txBody>
          <a:bodyPr lIns="108000" tIns="72000" rIns="108000" bIns="7200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Arial"/>
                <a:ea typeface="+mn-ea"/>
                <a:cs typeface="+mn-cs"/>
              </a:rPr>
              <a:t>We are now also applying our innovative mindset, collaborative approach and project realization expertise in the offshore wind sector</a:t>
            </a:r>
            <a:r>
              <a:rPr lang="en-US" b="0" dirty="0">
                <a:solidFill>
                  <a:prstClr val="white"/>
                </a:solidFill>
                <a:latin typeface="Arial"/>
              </a:rPr>
              <a:t>, with a 4GW offshore wind projects portfolio internationally.</a:t>
            </a:r>
            <a:endParaRPr kumimoji="0" lang="en-US" b="0" i="0" u="none" strike="noStrike" kern="1200" cap="none" spc="0" normalizeH="0" baseline="0" noProof="0" dirty="0">
              <a:ln>
                <a:noFill/>
              </a:ln>
              <a:solidFill>
                <a:prstClr val="white"/>
              </a:solidFill>
              <a:effectLst/>
              <a:uLnTx/>
              <a:uFillTx/>
              <a:latin typeface="Arial"/>
              <a:ea typeface="+mn-ea"/>
              <a:cs typeface="+mn-cs"/>
            </a:endParaRPr>
          </a:p>
        </p:txBody>
      </p:sp>
      <p:pic>
        <p:nvPicPr>
          <p:cNvPr id="33" name="Content Placeholder 11">
            <a:extLst>
              <a:ext uri="{FF2B5EF4-FFF2-40B4-BE49-F238E27FC236}">
                <a16:creationId xmlns:a16="http://schemas.microsoft.com/office/drawing/2014/main" id="{07513A77-C688-7C7E-D0A7-6DB9918279EC}"/>
              </a:ext>
            </a:extLst>
          </p:cNvPr>
          <p:cNvPicPr>
            <a:picLocks noChangeAspect="1"/>
          </p:cNvPicPr>
          <p:nvPr/>
        </p:nvPicPr>
        <p:blipFill rotWithShape="1">
          <a:blip r:embed="rId6">
            <a:extLst>
              <a:ext uri="{28A0092B-C50C-407E-A947-70E740481C1C}">
                <a14:useLocalDpi xmlns:a14="http://schemas.microsoft.com/office/drawing/2010/main" val="0"/>
              </a:ext>
            </a:extLst>
          </a:blip>
          <a:srcRect t="1259" b="1259"/>
          <a:stretch/>
        </p:blipFill>
        <p:spPr bwMode="gray">
          <a:xfrm>
            <a:off x="6541010" y="1470278"/>
            <a:ext cx="4592688" cy="2519061"/>
          </a:xfrm>
          <a:prstGeom prst="rect">
            <a:avLst/>
          </a:prstGeom>
          <a:noFill/>
        </p:spPr>
      </p:pic>
      <p:sp>
        <p:nvSpPr>
          <p:cNvPr id="34" name="Text Placeholder 12">
            <a:extLst>
              <a:ext uri="{FF2B5EF4-FFF2-40B4-BE49-F238E27FC236}">
                <a16:creationId xmlns:a16="http://schemas.microsoft.com/office/drawing/2014/main" id="{60DD63A3-26FA-0545-E95F-ABC7687271A2}"/>
              </a:ext>
            </a:extLst>
          </p:cNvPr>
          <p:cNvSpPr txBox="1">
            <a:spLocks/>
          </p:cNvSpPr>
          <p:nvPr/>
        </p:nvSpPr>
        <p:spPr bwMode="gray">
          <a:xfrm>
            <a:off x="7604381" y="3625216"/>
            <a:ext cx="3529315"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 name="connsiteX0" fmla="*/ 0 w 719840"/>
              <a:gd name="connsiteY0" fmla="*/ 6885383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6885383"/>
                </a:moveTo>
                <a:lnTo>
                  <a:pt x="719840" y="0"/>
                </a:lnTo>
                <a:lnTo>
                  <a:pt x="719840" y="6885383"/>
                </a:lnTo>
                <a:lnTo>
                  <a:pt x="0" y="6885383"/>
                </a:lnTo>
                <a:close/>
              </a:path>
            </a:pathLst>
          </a:custGeom>
          <a:solidFill>
            <a:schemeClr val="accent1">
              <a:alpha val="66000"/>
            </a:schemeClr>
          </a:solidFill>
        </p:spPr>
        <p:txBody>
          <a:bodyPr vert="horz" wrap="square"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600" b="0" kern="1200" noProof="0" dirty="0">
                <a:solidFill>
                  <a:schemeClr val="tx1">
                    <a:alpha val="0"/>
                  </a:schemeClr>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600" b="0" kern="1200">
                <a:solidFill>
                  <a:schemeClr val="tx1">
                    <a:alpha val="0"/>
                  </a:schemeClr>
                </a:solidFill>
                <a:latin typeface="+mn-lt"/>
                <a:ea typeface="+mn-ea"/>
                <a:cs typeface="+mn-cs"/>
              </a:defRPr>
            </a:lvl2pPr>
            <a:lvl3pPr marL="0" indent="0" algn="l" defTabSz="914400" rtl="0" eaLnBrk="1" latinLnBrk="0" hangingPunct="1">
              <a:lnSpc>
                <a:spcPct val="100000"/>
              </a:lnSpc>
              <a:spcBef>
                <a:spcPts val="0"/>
              </a:spcBef>
              <a:spcAft>
                <a:spcPts val="0"/>
              </a:spcAft>
              <a:buClr>
                <a:schemeClr val="accent1"/>
              </a:buClr>
              <a:buSzPct val="90000"/>
              <a:buFont typeface="Wingdings" panose="05000000000000000000" pitchFamily="2" charset="2"/>
              <a:buNone/>
              <a:defRPr sz="600" b="0" kern="1200">
                <a:solidFill>
                  <a:schemeClr val="tx1">
                    <a:alpha val="0"/>
                  </a:schemeClr>
                </a:solidFill>
                <a:latin typeface="+mn-lt"/>
                <a:ea typeface="+mn-ea"/>
                <a:cs typeface="+mn-cs"/>
              </a:defRPr>
            </a:lvl3pPr>
            <a:lvl4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4pPr>
            <a:lvl5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5pPr>
            <a:lvl6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6pPr>
            <a:lvl7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7pPr>
            <a:lvl8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8pPr>
            <a:lvl9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9pPr>
          </a:lstStyle>
          <a:p>
            <a:endParaRPr lang="en-US"/>
          </a:p>
        </p:txBody>
      </p:sp>
      <p:sp>
        <p:nvSpPr>
          <p:cNvPr id="2" name="Text Placeholder 12">
            <a:extLst>
              <a:ext uri="{FF2B5EF4-FFF2-40B4-BE49-F238E27FC236}">
                <a16:creationId xmlns:a16="http://schemas.microsoft.com/office/drawing/2014/main" id="{34D536D8-0475-9386-0456-0D58FFC66120}"/>
              </a:ext>
            </a:extLst>
          </p:cNvPr>
          <p:cNvSpPr txBox="1">
            <a:spLocks/>
          </p:cNvSpPr>
          <p:nvPr/>
        </p:nvSpPr>
        <p:spPr bwMode="gray">
          <a:xfrm>
            <a:off x="2110130" y="3617357"/>
            <a:ext cx="3529315"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 name="connsiteX0" fmla="*/ 0 w 719840"/>
              <a:gd name="connsiteY0" fmla="*/ 6885383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6885383"/>
                </a:moveTo>
                <a:lnTo>
                  <a:pt x="719840" y="0"/>
                </a:lnTo>
                <a:lnTo>
                  <a:pt x="719840" y="6885383"/>
                </a:lnTo>
                <a:lnTo>
                  <a:pt x="0" y="6885383"/>
                </a:lnTo>
                <a:close/>
              </a:path>
            </a:pathLst>
          </a:custGeom>
          <a:solidFill>
            <a:schemeClr val="accent1">
              <a:alpha val="66000"/>
            </a:schemeClr>
          </a:solidFill>
        </p:spPr>
        <p:txBody>
          <a:bodyPr vert="horz" wrap="square"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600" b="0" kern="1200" noProof="0" dirty="0">
                <a:solidFill>
                  <a:schemeClr val="tx1">
                    <a:alpha val="0"/>
                  </a:schemeClr>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600" b="0" kern="1200">
                <a:solidFill>
                  <a:schemeClr val="tx1">
                    <a:alpha val="0"/>
                  </a:schemeClr>
                </a:solidFill>
                <a:latin typeface="+mn-lt"/>
                <a:ea typeface="+mn-ea"/>
                <a:cs typeface="+mn-cs"/>
              </a:defRPr>
            </a:lvl2pPr>
            <a:lvl3pPr marL="0" indent="0" algn="l" defTabSz="914400" rtl="0" eaLnBrk="1" latinLnBrk="0" hangingPunct="1">
              <a:lnSpc>
                <a:spcPct val="100000"/>
              </a:lnSpc>
              <a:spcBef>
                <a:spcPts val="0"/>
              </a:spcBef>
              <a:spcAft>
                <a:spcPts val="0"/>
              </a:spcAft>
              <a:buClr>
                <a:schemeClr val="accent1"/>
              </a:buClr>
              <a:buSzPct val="90000"/>
              <a:buFont typeface="Wingdings" panose="05000000000000000000" pitchFamily="2" charset="2"/>
              <a:buNone/>
              <a:defRPr sz="600" b="0" kern="1200">
                <a:solidFill>
                  <a:schemeClr val="tx1">
                    <a:alpha val="0"/>
                  </a:schemeClr>
                </a:solidFill>
                <a:latin typeface="+mn-lt"/>
                <a:ea typeface="+mn-ea"/>
                <a:cs typeface="+mn-cs"/>
              </a:defRPr>
            </a:lvl3pPr>
            <a:lvl4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4pPr>
            <a:lvl5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5pPr>
            <a:lvl6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6pPr>
            <a:lvl7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7pPr>
            <a:lvl8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8pPr>
            <a:lvl9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9pPr>
          </a:lstStyle>
          <a:p>
            <a:endParaRPr lang="en-US"/>
          </a:p>
        </p:txBody>
      </p:sp>
    </p:spTree>
    <p:extLst>
      <p:ext uri="{BB962C8B-B14F-4D97-AF65-F5344CB8AC3E}">
        <p14:creationId xmlns:p14="http://schemas.microsoft.com/office/powerpoint/2010/main" val="3233845122"/>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1749985-CE19-4898-881B-773C297588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0" imgW="327" imgH="327" progId="TCLayout.ActiveDocument.1">
                  <p:embed/>
                </p:oleObj>
              </mc:Choice>
              <mc:Fallback>
                <p:oleObj name="think-cell Folie" r:id="rId50" imgW="327" imgH="327" progId="TCLayout.ActiveDocument.1">
                  <p:embed/>
                  <p:pic>
                    <p:nvPicPr>
                      <p:cNvPr id="14" name="Object 13" hidden="1">
                        <a:extLst>
                          <a:ext uri="{FF2B5EF4-FFF2-40B4-BE49-F238E27FC236}">
                            <a16:creationId xmlns:a16="http://schemas.microsoft.com/office/drawing/2014/main" id="{D1749985-CE19-4898-881B-773C2975882A}"/>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63B04BE8-CBC9-492B-AFDD-5AC1E63B4843}"/>
              </a:ext>
            </a:extLst>
          </p:cNvPr>
          <p:cNvSpPr>
            <a:spLocks noGrp="1"/>
          </p:cNvSpPr>
          <p:nvPr>
            <p:ph type="title"/>
            <p:custDataLst>
              <p:tags r:id="rId2"/>
            </p:custDataLst>
          </p:nvPr>
        </p:nvSpPr>
        <p:spPr bwMode="gray"/>
        <p:txBody>
          <a:bodyPr vert="horz"/>
          <a:lstStyle/>
          <a:p>
            <a:r>
              <a:rPr lang="en-GB" dirty="0"/>
              <a:t>The entire value chain from one single source</a:t>
            </a:r>
          </a:p>
        </p:txBody>
      </p:sp>
      <p:sp>
        <p:nvSpPr>
          <p:cNvPr id="17" name="Textplatzhalter 15">
            <a:extLst>
              <a:ext uri="{FF2B5EF4-FFF2-40B4-BE49-F238E27FC236}">
                <a16:creationId xmlns:a16="http://schemas.microsoft.com/office/drawing/2014/main" id="{EBAD5BFB-A8E4-4CA6-AAD3-8A48E96F407E}"/>
              </a:ext>
            </a:extLst>
          </p:cNvPr>
          <p:cNvSpPr txBox="1">
            <a:spLocks/>
          </p:cNvSpPr>
          <p:nvPr>
            <p:custDataLst>
              <p:tags r:id="rId3"/>
            </p:custDataLst>
          </p:nvPr>
        </p:nvSpPr>
        <p:spPr bwMode="gray">
          <a:xfrm>
            <a:off x="8219455" y="2959836"/>
            <a:ext cx="3564557" cy="1486332"/>
          </a:xfrm>
          <a:prstGeom prst="roundRect">
            <a:avLst>
              <a:gd name="adj" fmla="val 4643"/>
            </a:avLst>
          </a:prstGeom>
          <a:solidFill>
            <a:schemeClr val="accent1"/>
          </a:solidFill>
          <a:ln>
            <a:noFill/>
          </a:ln>
        </p:spPr>
        <p:txBody>
          <a:bodyPr lIns="108000" tIns="72000" rIns="108000" bIns="7200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prstClr val="white"/>
                </a:solidFill>
                <a:effectLst/>
                <a:uLnTx/>
                <a:uFillTx/>
                <a:latin typeface="Arial"/>
                <a:ea typeface="+mn-ea"/>
                <a:cs typeface="+mn-cs"/>
              </a:rPr>
              <a:t>What we are doing:</a:t>
            </a:r>
            <a:endParaRPr kumimoji="0" lang="en-GB" sz="180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Providing project development expertise </a:t>
            </a:r>
            <a:r>
              <a:rPr lang="en-US" b="0" dirty="0">
                <a:solidFill>
                  <a:prstClr val="white"/>
                </a:solidFill>
                <a:latin typeface="Arial"/>
              </a:rPr>
              <a:t>and bringing </a:t>
            </a:r>
            <a:r>
              <a:rPr kumimoji="0" lang="en-US" sz="1600" b="0" i="0" u="none" strike="noStrike" kern="1200" cap="none" spc="0" normalizeH="0" baseline="0" noProof="0" dirty="0">
                <a:ln>
                  <a:noFill/>
                </a:ln>
                <a:solidFill>
                  <a:prstClr val="white"/>
                </a:solidFill>
                <a:effectLst/>
                <a:uLnTx/>
                <a:uFillTx/>
                <a:latin typeface="Arial"/>
                <a:ea typeface="+mn-ea"/>
                <a:cs typeface="+mn-cs"/>
              </a:rPr>
              <a:t>international PPA and financing experience to the Romanian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prstClr val="white"/>
              </a:solidFill>
              <a:latin typeface="Arial"/>
            </a:endParaRPr>
          </a:p>
        </p:txBody>
      </p:sp>
      <p:sp>
        <p:nvSpPr>
          <p:cNvPr id="37" name="Oval 36">
            <a:extLst>
              <a:ext uri="{FF2B5EF4-FFF2-40B4-BE49-F238E27FC236}">
                <a16:creationId xmlns:a16="http://schemas.microsoft.com/office/drawing/2014/main" id="{4AD52ACC-1AB5-46FA-AB9F-1B4706BA0C4A}"/>
              </a:ext>
            </a:extLst>
          </p:cNvPr>
          <p:cNvSpPr>
            <a:spLocks/>
          </p:cNvSpPr>
          <p:nvPr>
            <p:custDataLst>
              <p:tags r:id="rId4"/>
            </p:custDataLst>
          </p:nvPr>
        </p:nvSpPr>
        <p:spPr bwMode="gray">
          <a:xfrm>
            <a:off x="3168312" y="2833389"/>
            <a:ext cx="2520000" cy="252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600" dirty="0"/>
          </a:p>
        </p:txBody>
      </p:sp>
      <p:grpSp>
        <p:nvGrpSpPr>
          <p:cNvPr id="100" name="Group 99">
            <a:extLst>
              <a:ext uri="{FF2B5EF4-FFF2-40B4-BE49-F238E27FC236}">
                <a16:creationId xmlns:a16="http://schemas.microsoft.com/office/drawing/2014/main" id="{634D485D-D520-4511-84BA-9972C088DF82}"/>
              </a:ext>
            </a:extLst>
          </p:cNvPr>
          <p:cNvGrpSpPr/>
          <p:nvPr>
            <p:custDataLst>
              <p:tags r:id="rId5"/>
            </p:custDataLst>
          </p:nvPr>
        </p:nvGrpSpPr>
        <p:grpSpPr bwMode="gray">
          <a:xfrm>
            <a:off x="2506980" y="2348880"/>
            <a:ext cx="3780380" cy="3636404"/>
            <a:chOff x="2171604" y="2420888"/>
            <a:chExt cx="3780380" cy="3636404"/>
          </a:xfrm>
        </p:grpSpPr>
        <p:sp>
          <p:nvSpPr>
            <p:cNvPr id="21" name="Arc 20">
              <a:extLst>
                <a:ext uri="{FF2B5EF4-FFF2-40B4-BE49-F238E27FC236}">
                  <a16:creationId xmlns:a16="http://schemas.microsoft.com/office/drawing/2014/main" id="{A9317FD5-9561-438F-8A02-6DB78E67ED1C}"/>
                </a:ext>
              </a:extLst>
            </p:cNvPr>
            <p:cNvSpPr/>
            <p:nvPr>
              <p:custDataLst>
                <p:tags r:id="rId46"/>
              </p:custDataLst>
            </p:nvPr>
          </p:nvSpPr>
          <p:spPr bwMode="gray">
            <a:xfrm>
              <a:off x="2315580" y="2420888"/>
              <a:ext cx="3636404" cy="3636404"/>
            </a:xfrm>
            <a:prstGeom prst="arc">
              <a:avLst>
                <a:gd name="adj1" fmla="val 11264803"/>
                <a:gd name="adj2" fmla="val 2462099"/>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pPr algn="ctr"/>
              <a:endParaRPr lang="en-GB"/>
            </a:p>
          </p:txBody>
        </p:sp>
        <p:sp>
          <p:nvSpPr>
            <p:cNvPr id="99" name="Oval 98">
              <a:extLst>
                <a:ext uri="{FF2B5EF4-FFF2-40B4-BE49-F238E27FC236}">
                  <a16:creationId xmlns:a16="http://schemas.microsoft.com/office/drawing/2014/main" id="{A917FFEC-1FB0-465C-B425-9E94EE008629}"/>
                </a:ext>
              </a:extLst>
            </p:cNvPr>
            <p:cNvSpPr/>
            <p:nvPr>
              <p:custDataLst>
                <p:tags r:id="rId47"/>
              </p:custDataLst>
            </p:nvPr>
          </p:nvSpPr>
          <p:spPr bwMode="gray">
            <a:xfrm>
              <a:off x="2171604" y="3819196"/>
              <a:ext cx="360000" cy="360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grpSp>
      <p:grpSp>
        <p:nvGrpSpPr>
          <p:cNvPr id="141" name="Group 140">
            <a:extLst>
              <a:ext uri="{FF2B5EF4-FFF2-40B4-BE49-F238E27FC236}">
                <a16:creationId xmlns:a16="http://schemas.microsoft.com/office/drawing/2014/main" id="{0E10A296-B11D-4423-A338-66DF57888965}"/>
              </a:ext>
            </a:extLst>
          </p:cNvPr>
          <p:cNvGrpSpPr/>
          <p:nvPr>
            <p:custDataLst>
              <p:tags r:id="rId6"/>
            </p:custDataLst>
          </p:nvPr>
        </p:nvGrpSpPr>
        <p:grpSpPr bwMode="gray">
          <a:xfrm>
            <a:off x="5735984" y="3012383"/>
            <a:ext cx="2196060" cy="2490779"/>
            <a:chOff x="5735984" y="3098421"/>
            <a:chExt cx="2196060" cy="2490779"/>
          </a:xfrm>
        </p:grpSpPr>
        <p:sp>
          <p:nvSpPr>
            <p:cNvPr id="91" name="Oval 90">
              <a:extLst>
                <a:ext uri="{FF2B5EF4-FFF2-40B4-BE49-F238E27FC236}">
                  <a16:creationId xmlns:a16="http://schemas.microsoft.com/office/drawing/2014/main" id="{68724A22-0CBF-4E31-A894-7C9EE38C3A62}"/>
                </a:ext>
              </a:extLst>
            </p:cNvPr>
            <p:cNvSpPr/>
            <p:nvPr>
              <p:custDataLst>
                <p:tags r:id="rId34"/>
              </p:custDataLst>
            </p:nvPr>
          </p:nvSpPr>
          <p:spPr bwMode="gray">
            <a:xfrm>
              <a:off x="5735984" y="5337212"/>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22" name="Oval 21">
              <a:extLst>
                <a:ext uri="{FF2B5EF4-FFF2-40B4-BE49-F238E27FC236}">
                  <a16:creationId xmlns:a16="http://schemas.microsoft.com/office/drawing/2014/main" id="{1A9F35A7-0362-47B6-B6DB-3823A8770DFA}"/>
                </a:ext>
              </a:extLst>
            </p:cNvPr>
            <p:cNvSpPr/>
            <p:nvPr>
              <p:custDataLst>
                <p:tags r:id="rId35"/>
              </p:custDataLst>
            </p:nvPr>
          </p:nvSpPr>
          <p:spPr bwMode="gray">
            <a:xfrm>
              <a:off x="5989192" y="3315932"/>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23" name="Rectangle 22">
              <a:extLst>
                <a:ext uri="{FF2B5EF4-FFF2-40B4-BE49-F238E27FC236}">
                  <a16:creationId xmlns:a16="http://schemas.microsoft.com/office/drawing/2014/main" id="{0A3A8362-5C53-4967-A3EF-CE19223F9F77}"/>
                </a:ext>
              </a:extLst>
            </p:cNvPr>
            <p:cNvSpPr/>
            <p:nvPr>
              <p:custDataLst>
                <p:tags r:id="rId36"/>
              </p:custDataLst>
            </p:nvPr>
          </p:nvSpPr>
          <p:spPr bwMode="gray">
            <a:xfrm>
              <a:off x="6348028" y="3285008"/>
              <a:ext cx="7200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EPC</a:t>
              </a:r>
            </a:p>
          </p:txBody>
        </p:sp>
        <p:sp>
          <p:nvSpPr>
            <p:cNvPr id="25" name="Rectangle 24">
              <a:extLst>
                <a:ext uri="{FF2B5EF4-FFF2-40B4-BE49-F238E27FC236}">
                  <a16:creationId xmlns:a16="http://schemas.microsoft.com/office/drawing/2014/main" id="{88DAF4D7-909A-4926-93FD-0D189896238D}"/>
                </a:ext>
              </a:extLst>
            </p:cNvPr>
            <p:cNvSpPr/>
            <p:nvPr>
              <p:custDataLst>
                <p:tags r:id="rId37"/>
              </p:custDataLst>
            </p:nvPr>
          </p:nvSpPr>
          <p:spPr bwMode="gray">
            <a:xfrm>
              <a:off x="6456040" y="3825068"/>
              <a:ext cx="1440247"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commissioninig</a:t>
              </a:r>
            </a:p>
          </p:txBody>
        </p:sp>
        <p:sp>
          <p:nvSpPr>
            <p:cNvPr id="26" name="Rectangle 25">
              <a:extLst>
                <a:ext uri="{FF2B5EF4-FFF2-40B4-BE49-F238E27FC236}">
                  <a16:creationId xmlns:a16="http://schemas.microsoft.com/office/drawing/2014/main" id="{F6443C64-CF8E-406D-A1AD-AE5C41DC437D}"/>
                </a:ext>
              </a:extLst>
            </p:cNvPr>
            <p:cNvSpPr/>
            <p:nvPr>
              <p:custDataLst>
                <p:tags r:id="rId38"/>
              </p:custDataLst>
            </p:nvPr>
          </p:nvSpPr>
          <p:spPr bwMode="gray">
            <a:xfrm>
              <a:off x="6492044" y="4401132"/>
              <a:ext cx="14400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direct marketing </a:t>
              </a:r>
              <a:br>
                <a:rPr lang="en-GB" sz="1200">
                  <a:solidFill>
                    <a:schemeClr val="accent1"/>
                  </a:solidFill>
                </a:rPr>
              </a:br>
              <a:r>
                <a:rPr lang="en-GB" sz="1200">
                  <a:solidFill>
                    <a:schemeClr val="accent1"/>
                  </a:solidFill>
                </a:rPr>
                <a:t>of electricity</a:t>
              </a:r>
            </a:p>
          </p:txBody>
        </p:sp>
        <p:sp>
          <p:nvSpPr>
            <p:cNvPr id="27" name="Rectangle 26">
              <a:extLst>
                <a:ext uri="{FF2B5EF4-FFF2-40B4-BE49-F238E27FC236}">
                  <a16:creationId xmlns:a16="http://schemas.microsoft.com/office/drawing/2014/main" id="{DE0A013D-3278-4B2B-8C00-422D048A347F}"/>
                </a:ext>
              </a:extLst>
            </p:cNvPr>
            <p:cNvSpPr/>
            <p:nvPr>
              <p:custDataLst>
                <p:tags r:id="rId39"/>
              </p:custDataLst>
            </p:nvPr>
          </p:nvSpPr>
          <p:spPr bwMode="gray">
            <a:xfrm>
              <a:off x="6312199" y="4905164"/>
              <a:ext cx="14400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contracting PPAs</a:t>
              </a:r>
            </a:p>
          </p:txBody>
        </p:sp>
        <p:sp>
          <p:nvSpPr>
            <p:cNvPr id="28" name="Rectangle 27">
              <a:extLst>
                <a:ext uri="{FF2B5EF4-FFF2-40B4-BE49-F238E27FC236}">
                  <a16:creationId xmlns:a16="http://schemas.microsoft.com/office/drawing/2014/main" id="{A9B80AA0-BA1F-4742-A85B-6193F0E997DF}"/>
                </a:ext>
              </a:extLst>
            </p:cNvPr>
            <p:cNvSpPr/>
            <p:nvPr>
              <p:custDataLst>
                <p:tags r:id="rId40"/>
              </p:custDataLst>
            </p:nvPr>
          </p:nvSpPr>
          <p:spPr bwMode="gray">
            <a:xfrm>
              <a:off x="6024104" y="5373200"/>
              <a:ext cx="7200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sales</a:t>
              </a:r>
            </a:p>
          </p:txBody>
        </p:sp>
        <p:pic>
          <p:nvPicPr>
            <p:cNvPr id="84" name="Picture 83">
              <a:extLst>
                <a:ext uri="{FF2B5EF4-FFF2-40B4-BE49-F238E27FC236}">
                  <a16:creationId xmlns:a16="http://schemas.microsoft.com/office/drawing/2014/main" id="{FB30E340-FB15-481E-8071-CABC8821F8F6}"/>
                </a:ext>
              </a:extLst>
            </p:cNvPr>
            <p:cNvPicPr>
              <a:picLocks noChangeAspect="1"/>
            </p:cNvPicPr>
            <p:nvPr>
              <p:custDataLst>
                <p:tags r:id="rId41"/>
              </p:custDataLst>
            </p:nvPr>
          </p:nvPicPr>
          <p:blipFill>
            <a:blip r:embed="rId52" cstate="print">
              <a:extLst>
                <a:ext uri="{28A0092B-C50C-407E-A947-70E740481C1C}">
                  <a14:useLocalDpi xmlns:a14="http://schemas.microsoft.com/office/drawing/2010/main" val="0"/>
                </a:ext>
              </a:extLst>
            </a:blip>
            <a:stretch>
              <a:fillRect/>
            </a:stretch>
          </p:blipFill>
          <p:spPr bwMode="gray">
            <a:xfrm>
              <a:off x="6780076" y="3098421"/>
              <a:ext cx="396000" cy="396000"/>
            </a:xfrm>
            <a:prstGeom prst="rect">
              <a:avLst/>
            </a:prstGeom>
            <a:noFill/>
          </p:spPr>
        </p:pic>
        <p:pic>
          <p:nvPicPr>
            <p:cNvPr id="85" name="Picture 84" descr="A close up of a sign&#10;&#10;Description automatically generated">
              <a:extLst>
                <a:ext uri="{FF2B5EF4-FFF2-40B4-BE49-F238E27FC236}">
                  <a16:creationId xmlns:a16="http://schemas.microsoft.com/office/drawing/2014/main" id="{3AD4B7FD-AF5D-41D2-A0FC-84974EE9F479}"/>
                </a:ext>
              </a:extLst>
            </p:cNvPr>
            <p:cNvPicPr>
              <a:picLocks noChangeAspect="1"/>
            </p:cNvPicPr>
            <p:nvPr>
              <p:custDataLst>
                <p:tags r:id="rId42"/>
              </p:custDataLst>
            </p:nvPr>
          </p:nvPicPr>
          <p:blipFill>
            <a:blip r:embed="rId53" cstate="print">
              <a:extLst>
                <a:ext uri="{28A0092B-C50C-407E-A947-70E740481C1C}">
                  <a14:useLocalDpi xmlns:a14="http://schemas.microsoft.com/office/drawing/2010/main" val="0"/>
                </a:ext>
              </a:extLst>
            </a:blip>
            <a:stretch>
              <a:fillRect/>
            </a:stretch>
          </p:blipFill>
          <p:spPr bwMode="gray">
            <a:xfrm>
              <a:off x="6455992" y="5193196"/>
              <a:ext cx="360000" cy="360000"/>
            </a:xfrm>
            <a:prstGeom prst="rect">
              <a:avLst/>
            </a:prstGeom>
            <a:noFill/>
          </p:spPr>
        </p:pic>
        <p:sp>
          <p:nvSpPr>
            <p:cNvPr id="88" name="Oval 87">
              <a:extLst>
                <a:ext uri="{FF2B5EF4-FFF2-40B4-BE49-F238E27FC236}">
                  <a16:creationId xmlns:a16="http://schemas.microsoft.com/office/drawing/2014/main" id="{3C446408-0590-4290-B870-57F7ABE251A2}"/>
                </a:ext>
              </a:extLst>
            </p:cNvPr>
            <p:cNvSpPr/>
            <p:nvPr>
              <p:custDataLst>
                <p:tags r:id="rId43"/>
              </p:custDataLst>
            </p:nvPr>
          </p:nvSpPr>
          <p:spPr bwMode="gray">
            <a:xfrm>
              <a:off x="6132028" y="3789040"/>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89" name="Oval 88">
              <a:extLst>
                <a:ext uri="{FF2B5EF4-FFF2-40B4-BE49-F238E27FC236}">
                  <a16:creationId xmlns:a16="http://schemas.microsoft.com/office/drawing/2014/main" id="{AF7C6B03-C900-4420-B40D-DF688BD60093}"/>
                </a:ext>
              </a:extLst>
            </p:cNvPr>
            <p:cNvSpPr/>
            <p:nvPr>
              <p:custDataLst>
                <p:tags r:id="rId44"/>
              </p:custDataLst>
            </p:nvPr>
          </p:nvSpPr>
          <p:spPr bwMode="gray">
            <a:xfrm>
              <a:off x="6179372" y="4329148"/>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90" name="Oval 89">
              <a:extLst>
                <a:ext uri="{FF2B5EF4-FFF2-40B4-BE49-F238E27FC236}">
                  <a16:creationId xmlns:a16="http://schemas.microsoft.com/office/drawing/2014/main" id="{1FC9195D-804E-4830-B4B6-1AFB0E96DCD5}"/>
                </a:ext>
              </a:extLst>
            </p:cNvPr>
            <p:cNvSpPr/>
            <p:nvPr>
              <p:custDataLst>
                <p:tags r:id="rId45"/>
              </p:custDataLst>
            </p:nvPr>
          </p:nvSpPr>
          <p:spPr bwMode="gray">
            <a:xfrm>
              <a:off x="6023992" y="4833156"/>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grpSp>
      <p:grpSp>
        <p:nvGrpSpPr>
          <p:cNvPr id="139" name="Group 138">
            <a:extLst>
              <a:ext uri="{FF2B5EF4-FFF2-40B4-BE49-F238E27FC236}">
                <a16:creationId xmlns:a16="http://schemas.microsoft.com/office/drawing/2014/main" id="{8B2D93FF-BAC9-42A1-9889-153A7EA8FD86}"/>
              </a:ext>
            </a:extLst>
          </p:cNvPr>
          <p:cNvGrpSpPr/>
          <p:nvPr>
            <p:custDataLst>
              <p:tags r:id="rId7"/>
            </p:custDataLst>
          </p:nvPr>
        </p:nvGrpSpPr>
        <p:grpSpPr bwMode="gray">
          <a:xfrm>
            <a:off x="803412" y="1700808"/>
            <a:ext cx="6660744" cy="2398238"/>
            <a:chOff x="803412" y="1786846"/>
            <a:chExt cx="6660744" cy="2398238"/>
          </a:xfrm>
        </p:grpSpPr>
        <p:grpSp>
          <p:nvGrpSpPr>
            <p:cNvPr id="138" name="Group 137">
              <a:extLst>
                <a:ext uri="{FF2B5EF4-FFF2-40B4-BE49-F238E27FC236}">
                  <a16:creationId xmlns:a16="http://schemas.microsoft.com/office/drawing/2014/main" id="{FC039D1C-FC5F-4448-8BC1-99C4E2BE2FFC}"/>
                </a:ext>
              </a:extLst>
            </p:cNvPr>
            <p:cNvGrpSpPr/>
            <p:nvPr/>
          </p:nvGrpSpPr>
          <p:grpSpPr bwMode="gray">
            <a:xfrm>
              <a:off x="2351584" y="1786846"/>
              <a:ext cx="5112572" cy="1282114"/>
              <a:chOff x="2351584" y="1786846"/>
              <a:chExt cx="5112572" cy="1282114"/>
            </a:xfrm>
          </p:grpSpPr>
          <p:sp>
            <p:nvSpPr>
              <p:cNvPr id="29" name="Rectangle 28">
                <a:extLst>
                  <a:ext uri="{FF2B5EF4-FFF2-40B4-BE49-F238E27FC236}">
                    <a16:creationId xmlns:a16="http://schemas.microsoft.com/office/drawing/2014/main" id="{75CFBB35-B3C0-4831-A742-7188A862877C}"/>
                  </a:ext>
                </a:extLst>
              </p:cNvPr>
              <p:cNvSpPr/>
              <p:nvPr>
                <p:custDataLst>
                  <p:tags r:id="rId23"/>
                </p:custDataLst>
              </p:nvPr>
            </p:nvSpPr>
            <p:spPr bwMode="gray">
              <a:xfrm>
                <a:off x="6024156" y="2816956"/>
                <a:ext cx="14400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optimisation </a:t>
                </a:r>
                <a:br>
                  <a:rPr lang="en-GB" sz="1200">
                    <a:solidFill>
                      <a:schemeClr val="accent1"/>
                    </a:solidFill>
                  </a:rPr>
                </a:br>
                <a:r>
                  <a:rPr lang="en-GB" sz="1200">
                    <a:solidFill>
                      <a:schemeClr val="accent1"/>
                    </a:solidFill>
                  </a:rPr>
                  <a:t>of plant layout</a:t>
                </a:r>
              </a:p>
            </p:txBody>
          </p:sp>
          <p:sp>
            <p:nvSpPr>
              <p:cNvPr id="30" name="Rectangle 29">
                <a:extLst>
                  <a:ext uri="{FF2B5EF4-FFF2-40B4-BE49-F238E27FC236}">
                    <a16:creationId xmlns:a16="http://schemas.microsoft.com/office/drawing/2014/main" id="{32DC7873-1904-40BF-9758-63B1A0653D77}"/>
                  </a:ext>
                </a:extLst>
              </p:cNvPr>
              <p:cNvSpPr/>
              <p:nvPr>
                <p:custDataLst>
                  <p:tags r:id="rId24"/>
                </p:custDataLst>
              </p:nvPr>
            </p:nvSpPr>
            <p:spPr bwMode="gray">
              <a:xfrm>
                <a:off x="5448104" y="2312876"/>
                <a:ext cx="1440000" cy="198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pre-)financing </a:t>
                </a:r>
                <a:br>
                  <a:rPr lang="en-GB" sz="1200">
                    <a:solidFill>
                      <a:schemeClr val="accent1"/>
                    </a:solidFill>
                  </a:rPr>
                </a:br>
                <a:r>
                  <a:rPr lang="en-GB" sz="1200">
                    <a:solidFill>
                      <a:schemeClr val="accent1"/>
                    </a:solidFill>
                  </a:rPr>
                  <a:t>and Interim financing</a:t>
                </a:r>
              </a:p>
            </p:txBody>
          </p:sp>
          <p:sp>
            <p:nvSpPr>
              <p:cNvPr id="31" name="Rectangle 30">
                <a:extLst>
                  <a:ext uri="{FF2B5EF4-FFF2-40B4-BE49-F238E27FC236}">
                    <a16:creationId xmlns:a16="http://schemas.microsoft.com/office/drawing/2014/main" id="{BA531A0F-52DE-449E-B558-74352CC6E592}"/>
                  </a:ext>
                </a:extLst>
              </p:cNvPr>
              <p:cNvSpPr/>
              <p:nvPr>
                <p:custDataLst>
                  <p:tags r:id="rId25"/>
                </p:custDataLst>
              </p:nvPr>
            </p:nvSpPr>
            <p:spPr bwMode="gray">
              <a:xfrm>
                <a:off x="4761527" y="1786846"/>
                <a:ext cx="108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r>
                  <a:rPr lang="en-GB" sz="1200">
                    <a:solidFill>
                      <a:schemeClr val="accent1"/>
                    </a:solidFill>
                  </a:rPr>
                  <a:t>securing grid </a:t>
                </a:r>
                <a:br>
                  <a:rPr lang="en-GB" sz="1200">
                    <a:solidFill>
                      <a:schemeClr val="accent1"/>
                    </a:solidFill>
                  </a:rPr>
                </a:br>
                <a:r>
                  <a:rPr lang="en-GB" sz="1200">
                    <a:solidFill>
                      <a:schemeClr val="accent1"/>
                    </a:solidFill>
                  </a:rPr>
                  <a:t>connection</a:t>
                </a:r>
              </a:p>
            </p:txBody>
          </p:sp>
          <p:sp>
            <p:nvSpPr>
              <p:cNvPr id="32" name="Rectangle 31">
                <a:extLst>
                  <a:ext uri="{FF2B5EF4-FFF2-40B4-BE49-F238E27FC236}">
                    <a16:creationId xmlns:a16="http://schemas.microsoft.com/office/drawing/2014/main" id="{94F32116-695E-474C-99FD-098E0FDFBA7F}"/>
                  </a:ext>
                </a:extLst>
              </p:cNvPr>
              <p:cNvSpPr/>
              <p:nvPr>
                <p:custDataLst>
                  <p:tags r:id="rId26"/>
                </p:custDataLst>
              </p:nvPr>
            </p:nvSpPr>
            <p:spPr bwMode="gray">
              <a:xfrm>
                <a:off x="3107744" y="1786846"/>
                <a:ext cx="108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1"/>
                    </a:solidFill>
                  </a:rPr>
                  <a:t>participation </a:t>
                </a:r>
                <a:br>
                  <a:rPr lang="en-GB" sz="1200">
                    <a:solidFill>
                      <a:schemeClr val="accent1"/>
                    </a:solidFill>
                  </a:rPr>
                </a:br>
                <a:r>
                  <a:rPr lang="en-GB" sz="1200">
                    <a:solidFill>
                      <a:schemeClr val="accent1"/>
                    </a:solidFill>
                  </a:rPr>
                  <a:t>in auctions</a:t>
                </a:r>
              </a:p>
            </p:txBody>
          </p:sp>
          <p:sp>
            <p:nvSpPr>
              <p:cNvPr id="33" name="Rectangle 32">
                <a:extLst>
                  <a:ext uri="{FF2B5EF4-FFF2-40B4-BE49-F238E27FC236}">
                    <a16:creationId xmlns:a16="http://schemas.microsoft.com/office/drawing/2014/main" id="{B26A0BE6-C1D2-49B3-86C2-C9B6C8A46EA3}"/>
                  </a:ext>
                </a:extLst>
              </p:cNvPr>
              <p:cNvSpPr/>
              <p:nvPr>
                <p:custDataLst>
                  <p:tags r:id="rId27"/>
                </p:custDataLst>
              </p:nvPr>
            </p:nvSpPr>
            <p:spPr bwMode="gray">
              <a:xfrm>
                <a:off x="2351584" y="2276904"/>
                <a:ext cx="108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1"/>
                    </a:solidFill>
                  </a:rPr>
                  <a:t>permissioning </a:t>
                </a:r>
                <a:br>
                  <a:rPr lang="en-GB" sz="1200">
                    <a:solidFill>
                      <a:schemeClr val="accent1"/>
                    </a:solidFill>
                  </a:rPr>
                </a:br>
                <a:r>
                  <a:rPr lang="en-GB" sz="1200">
                    <a:solidFill>
                      <a:schemeClr val="accent1"/>
                    </a:solidFill>
                  </a:rPr>
                  <a:t>process</a:t>
                </a:r>
              </a:p>
            </p:txBody>
          </p:sp>
          <p:sp>
            <p:nvSpPr>
              <p:cNvPr id="92" name="Oval 91">
                <a:extLst>
                  <a:ext uri="{FF2B5EF4-FFF2-40B4-BE49-F238E27FC236}">
                    <a16:creationId xmlns:a16="http://schemas.microsoft.com/office/drawing/2014/main" id="{0476DF0C-B8BD-4B1A-9B56-103333144749}"/>
                  </a:ext>
                </a:extLst>
              </p:cNvPr>
              <p:cNvSpPr/>
              <p:nvPr>
                <p:custDataLst>
                  <p:tags r:id="rId28"/>
                </p:custDataLst>
              </p:nvPr>
            </p:nvSpPr>
            <p:spPr bwMode="gray">
              <a:xfrm>
                <a:off x="5663952" y="2852936"/>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93" name="Oval 92">
                <a:extLst>
                  <a:ext uri="{FF2B5EF4-FFF2-40B4-BE49-F238E27FC236}">
                    <a16:creationId xmlns:a16="http://schemas.microsoft.com/office/drawing/2014/main" id="{3A782CEE-845F-451A-B409-8FED6A7A4591}"/>
                  </a:ext>
                </a:extLst>
              </p:cNvPr>
              <p:cNvSpPr/>
              <p:nvPr>
                <p:custDataLst>
                  <p:tags r:id="rId29"/>
                </p:custDataLst>
              </p:nvPr>
            </p:nvSpPr>
            <p:spPr bwMode="gray">
              <a:xfrm>
                <a:off x="5171236" y="2501903"/>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94" name="Oval 93">
                <a:extLst>
                  <a:ext uri="{FF2B5EF4-FFF2-40B4-BE49-F238E27FC236}">
                    <a16:creationId xmlns:a16="http://schemas.microsoft.com/office/drawing/2014/main" id="{D27905C4-C2C3-43BD-8FB6-D917AD8FEF50}"/>
                  </a:ext>
                </a:extLst>
              </p:cNvPr>
              <p:cNvSpPr/>
              <p:nvPr>
                <p:custDataLst>
                  <p:tags r:id="rId30"/>
                </p:custDataLst>
              </p:nvPr>
            </p:nvSpPr>
            <p:spPr bwMode="gray">
              <a:xfrm>
                <a:off x="4652906" y="2319608"/>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95" name="Oval 94">
                <a:extLst>
                  <a:ext uri="{FF2B5EF4-FFF2-40B4-BE49-F238E27FC236}">
                    <a16:creationId xmlns:a16="http://schemas.microsoft.com/office/drawing/2014/main" id="{55349E59-EF16-4D44-A33C-8C388753B0F4}"/>
                  </a:ext>
                </a:extLst>
              </p:cNvPr>
              <p:cNvSpPr/>
              <p:nvPr>
                <p:custDataLst>
                  <p:tags r:id="rId31"/>
                </p:custDataLst>
              </p:nvPr>
            </p:nvSpPr>
            <p:spPr bwMode="gray">
              <a:xfrm>
                <a:off x="4055112" y="2319608"/>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96" name="Oval 95">
                <a:extLst>
                  <a:ext uri="{FF2B5EF4-FFF2-40B4-BE49-F238E27FC236}">
                    <a16:creationId xmlns:a16="http://schemas.microsoft.com/office/drawing/2014/main" id="{B5EED74E-98CF-4CAC-AA92-9AE0018FD986}"/>
                  </a:ext>
                </a:extLst>
              </p:cNvPr>
              <p:cNvSpPr/>
              <p:nvPr>
                <p:custDataLst>
                  <p:tags r:id="rId32"/>
                </p:custDataLst>
              </p:nvPr>
            </p:nvSpPr>
            <p:spPr bwMode="gray">
              <a:xfrm>
                <a:off x="3551080" y="2492920"/>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97" name="Oval 96">
                <a:extLst>
                  <a:ext uri="{FF2B5EF4-FFF2-40B4-BE49-F238E27FC236}">
                    <a16:creationId xmlns:a16="http://schemas.microsoft.com/office/drawing/2014/main" id="{C295A95A-2E1B-46B5-BF76-577B0B3CC10F}"/>
                  </a:ext>
                </a:extLst>
              </p:cNvPr>
              <p:cNvSpPr/>
              <p:nvPr>
                <p:custDataLst>
                  <p:tags r:id="rId33"/>
                </p:custDataLst>
              </p:nvPr>
            </p:nvSpPr>
            <p:spPr bwMode="gray">
              <a:xfrm>
                <a:off x="3083028" y="2852960"/>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grpSp>
        <p:grpSp>
          <p:nvGrpSpPr>
            <p:cNvPr id="137" name="Group 136">
              <a:extLst>
                <a:ext uri="{FF2B5EF4-FFF2-40B4-BE49-F238E27FC236}">
                  <a16:creationId xmlns:a16="http://schemas.microsoft.com/office/drawing/2014/main" id="{DA60666A-67F6-4271-9741-75388B51F2D2}"/>
                </a:ext>
              </a:extLst>
            </p:cNvPr>
            <p:cNvGrpSpPr/>
            <p:nvPr/>
          </p:nvGrpSpPr>
          <p:grpSpPr bwMode="gray">
            <a:xfrm>
              <a:off x="803412" y="2816964"/>
              <a:ext cx="2171556" cy="1368120"/>
              <a:chOff x="803412" y="2816964"/>
              <a:chExt cx="2171556" cy="1368120"/>
            </a:xfrm>
          </p:grpSpPr>
          <p:sp>
            <p:nvSpPr>
              <p:cNvPr id="34" name="Rectangle 33">
                <a:extLst>
                  <a:ext uri="{FF2B5EF4-FFF2-40B4-BE49-F238E27FC236}">
                    <a16:creationId xmlns:a16="http://schemas.microsoft.com/office/drawing/2014/main" id="{DB720641-D062-4F1E-8E4B-AC0613323D8F}"/>
                  </a:ext>
                </a:extLst>
              </p:cNvPr>
              <p:cNvSpPr/>
              <p:nvPr>
                <p:custDataLst>
                  <p:tags r:id="rId18"/>
                </p:custDataLst>
              </p:nvPr>
            </p:nvSpPr>
            <p:spPr bwMode="gray">
              <a:xfrm>
                <a:off x="1847528" y="2816964"/>
                <a:ext cx="108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1"/>
                    </a:solidFill>
                  </a:rPr>
                  <a:t>project </a:t>
                </a:r>
                <a:br>
                  <a:rPr lang="en-GB" sz="1200">
                    <a:solidFill>
                      <a:schemeClr val="accent1"/>
                    </a:solidFill>
                  </a:rPr>
                </a:br>
                <a:r>
                  <a:rPr lang="en-GB" sz="1200">
                    <a:solidFill>
                      <a:schemeClr val="accent1"/>
                    </a:solidFill>
                  </a:rPr>
                  <a:t>development</a:t>
                </a:r>
              </a:p>
            </p:txBody>
          </p:sp>
          <p:sp>
            <p:nvSpPr>
              <p:cNvPr id="35" name="Rectangle 34">
                <a:extLst>
                  <a:ext uri="{FF2B5EF4-FFF2-40B4-BE49-F238E27FC236}">
                    <a16:creationId xmlns:a16="http://schemas.microsoft.com/office/drawing/2014/main" id="{4C07A46C-6A7B-46C4-9B2D-6524B10EB5FB}"/>
                  </a:ext>
                </a:extLst>
              </p:cNvPr>
              <p:cNvSpPr/>
              <p:nvPr>
                <p:custDataLst>
                  <p:tags r:id="rId19"/>
                </p:custDataLst>
              </p:nvPr>
            </p:nvSpPr>
            <p:spPr bwMode="gray">
              <a:xfrm>
                <a:off x="803412" y="3321020"/>
                <a:ext cx="180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1"/>
                    </a:solidFill>
                  </a:rPr>
                  <a:t>profit simulation </a:t>
                </a:r>
                <a:br>
                  <a:rPr lang="en-GB" sz="1200">
                    <a:solidFill>
                      <a:schemeClr val="accent1"/>
                    </a:solidFill>
                  </a:rPr>
                </a:br>
                <a:r>
                  <a:rPr lang="en-GB" sz="1200">
                    <a:solidFill>
                      <a:schemeClr val="accent1"/>
                    </a:solidFill>
                  </a:rPr>
                  <a:t>and operating parameters</a:t>
                </a:r>
              </a:p>
            </p:txBody>
          </p:sp>
          <p:sp>
            <p:nvSpPr>
              <p:cNvPr id="36" name="Rectangle 35">
                <a:extLst>
                  <a:ext uri="{FF2B5EF4-FFF2-40B4-BE49-F238E27FC236}">
                    <a16:creationId xmlns:a16="http://schemas.microsoft.com/office/drawing/2014/main" id="{473B07BC-754B-4710-971F-6707723EEFD7}"/>
                  </a:ext>
                </a:extLst>
              </p:cNvPr>
              <p:cNvSpPr/>
              <p:nvPr>
                <p:custDataLst>
                  <p:tags r:id="rId20"/>
                </p:custDataLst>
              </p:nvPr>
            </p:nvSpPr>
            <p:spPr bwMode="gray">
              <a:xfrm>
                <a:off x="803588" y="3897084"/>
                <a:ext cx="1584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1"/>
                    </a:solidFill>
                  </a:rPr>
                  <a:t>site analysis</a:t>
                </a:r>
              </a:p>
              <a:p>
                <a:pPr algn="r"/>
                <a:r>
                  <a:rPr lang="en-GB" sz="1200">
                    <a:solidFill>
                      <a:schemeClr val="accent1"/>
                    </a:solidFill>
                  </a:rPr>
                  <a:t>and acquisition</a:t>
                </a:r>
              </a:p>
            </p:txBody>
          </p:sp>
          <p:sp>
            <p:nvSpPr>
              <p:cNvPr id="98" name="Oval 97">
                <a:extLst>
                  <a:ext uri="{FF2B5EF4-FFF2-40B4-BE49-F238E27FC236}">
                    <a16:creationId xmlns:a16="http://schemas.microsoft.com/office/drawing/2014/main" id="{6D72EDD0-5D45-4A91-8ED5-8978CCDBE598}"/>
                  </a:ext>
                </a:extLst>
              </p:cNvPr>
              <p:cNvSpPr/>
              <p:nvPr>
                <p:custDataLst>
                  <p:tags r:id="rId21"/>
                </p:custDataLst>
              </p:nvPr>
            </p:nvSpPr>
            <p:spPr bwMode="gray">
              <a:xfrm>
                <a:off x="2758968" y="3257400"/>
                <a:ext cx="216000" cy="21600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pic>
            <p:nvPicPr>
              <p:cNvPr id="129" name="Graphic 128">
                <a:extLst>
                  <a:ext uri="{FF2B5EF4-FFF2-40B4-BE49-F238E27FC236}">
                    <a16:creationId xmlns:a16="http://schemas.microsoft.com/office/drawing/2014/main" id="{5A63E448-170B-49C4-B41F-A9EDA18ACD83}"/>
                  </a:ext>
                </a:extLst>
              </p:cNvPr>
              <p:cNvPicPr>
                <a:picLocks noChangeAspect="1"/>
              </p:cNvPicPr>
              <p:nvPr>
                <p:custDataLst>
                  <p:tags r:id="rId22"/>
                </p:custDataLst>
              </p:nvPr>
            </p:nvPicPr>
            <p:blipFill>
              <a:blip r:embed="rId54">
                <a:extLst>
                  <a:ext uri="{96DAC541-7B7A-43D3-8B79-37D633B846F1}">
                    <asvg:svgBlip xmlns:asvg="http://schemas.microsoft.com/office/drawing/2016/SVG/main" r:embed="rId55"/>
                  </a:ext>
                </a:extLst>
              </a:blip>
              <a:stretch>
                <a:fillRect/>
              </a:stretch>
            </p:blipFill>
            <p:spPr bwMode="gray">
              <a:xfrm>
                <a:off x="839460" y="3665440"/>
                <a:ext cx="396000" cy="411632"/>
              </a:xfrm>
              <a:prstGeom prst="rect">
                <a:avLst/>
              </a:prstGeom>
            </p:spPr>
          </p:pic>
        </p:grpSp>
      </p:grpSp>
      <p:grpSp>
        <p:nvGrpSpPr>
          <p:cNvPr id="143" name="Group 142">
            <a:extLst>
              <a:ext uri="{FF2B5EF4-FFF2-40B4-BE49-F238E27FC236}">
                <a16:creationId xmlns:a16="http://schemas.microsoft.com/office/drawing/2014/main" id="{2EC892C4-BAC1-45BC-8497-3BE92BE2A166}"/>
              </a:ext>
            </a:extLst>
          </p:cNvPr>
          <p:cNvGrpSpPr/>
          <p:nvPr>
            <p:custDataLst>
              <p:tags r:id="rId8"/>
            </p:custDataLst>
          </p:nvPr>
        </p:nvGrpSpPr>
        <p:grpSpPr bwMode="gray">
          <a:xfrm>
            <a:off x="1163452" y="4567677"/>
            <a:ext cx="3096320" cy="1813619"/>
            <a:chOff x="1343472" y="4567677"/>
            <a:chExt cx="3096320" cy="1813619"/>
          </a:xfrm>
        </p:grpSpPr>
        <p:sp>
          <p:nvSpPr>
            <p:cNvPr id="56" name="Oval 55">
              <a:extLst>
                <a:ext uri="{FF2B5EF4-FFF2-40B4-BE49-F238E27FC236}">
                  <a16:creationId xmlns:a16="http://schemas.microsoft.com/office/drawing/2014/main" id="{B4736835-648D-4138-8E0C-A80BE0CAD3D2}"/>
                </a:ext>
              </a:extLst>
            </p:cNvPr>
            <p:cNvSpPr/>
            <p:nvPr>
              <p:custDataLst>
                <p:tags r:id="rId10"/>
              </p:custDataLst>
            </p:nvPr>
          </p:nvSpPr>
          <p:spPr bwMode="gray">
            <a:xfrm>
              <a:off x="3035660" y="4567677"/>
              <a:ext cx="216000" cy="21600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58" name="Oval 57">
              <a:extLst>
                <a:ext uri="{FF2B5EF4-FFF2-40B4-BE49-F238E27FC236}">
                  <a16:creationId xmlns:a16="http://schemas.microsoft.com/office/drawing/2014/main" id="{7D803596-8619-47BA-BF18-A116570320A2}"/>
                </a:ext>
              </a:extLst>
            </p:cNvPr>
            <p:cNvSpPr/>
            <p:nvPr>
              <p:custDataLst>
                <p:tags r:id="rId11"/>
              </p:custDataLst>
            </p:nvPr>
          </p:nvSpPr>
          <p:spPr bwMode="gray">
            <a:xfrm>
              <a:off x="3251684" y="5117559"/>
              <a:ext cx="216000" cy="21600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59" name="Oval 58">
              <a:extLst>
                <a:ext uri="{FF2B5EF4-FFF2-40B4-BE49-F238E27FC236}">
                  <a16:creationId xmlns:a16="http://schemas.microsoft.com/office/drawing/2014/main" id="{C211D5FA-BBC1-49FC-968E-29DA00A39A71}"/>
                </a:ext>
              </a:extLst>
            </p:cNvPr>
            <p:cNvSpPr/>
            <p:nvPr>
              <p:custDataLst>
                <p:tags r:id="rId12"/>
              </p:custDataLst>
            </p:nvPr>
          </p:nvSpPr>
          <p:spPr bwMode="gray">
            <a:xfrm>
              <a:off x="3647728" y="5494194"/>
              <a:ext cx="216000" cy="21600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60" name="Oval 59">
              <a:extLst>
                <a:ext uri="{FF2B5EF4-FFF2-40B4-BE49-F238E27FC236}">
                  <a16:creationId xmlns:a16="http://schemas.microsoft.com/office/drawing/2014/main" id="{0FBE65C2-06C1-4DB6-BBDE-62E67FC223D5}"/>
                </a:ext>
              </a:extLst>
            </p:cNvPr>
            <p:cNvSpPr/>
            <p:nvPr>
              <p:custDataLst>
                <p:tags r:id="rId13"/>
              </p:custDataLst>
            </p:nvPr>
          </p:nvSpPr>
          <p:spPr bwMode="gray">
            <a:xfrm>
              <a:off x="4223792" y="5697276"/>
              <a:ext cx="216000" cy="21600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t" anchorCtr="0"/>
            <a:lstStyle/>
            <a:p>
              <a:pPr algn="ctr"/>
              <a:endParaRPr lang="en-GB" sz="1600"/>
            </a:p>
          </p:txBody>
        </p:sp>
        <p:sp>
          <p:nvSpPr>
            <p:cNvPr id="61" name="Rectangle 60">
              <a:extLst>
                <a:ext uri="{FF2B5EF4-FFF2-40B4-BE49-F238E27FC236}">
                  <a16:creationId xmlns:a16="http://schemas.microsoft.com/office/drawing/2014/main" id="{D1C76B8D-AE9B-42E6-9D2B-A07A72394CC2}"/>
                </a:ext>
              </a:extLst>
            </p:cNvPr>
            <p:cNvSpPr/>
            <p:nvPr>
              <p:custDataLst>
                <p:tags r:id="rId14"/>
              </p:custDataLst>
            </p:nvPr>
          </p:nvSpPr>
          <p:spPr bwMode="gray">
            <a:xfrm>
              <a:off x="1343472" y="4581128"/>
              <a:ext cx="1584176"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3"/>
                  </a:solidFill>
                </a:rPr>
                <a:t>central 24/7 monitoring </a:t>
              </a:r>
              <a:br>
                <a:rPr lang="en-GB" sz="1200">
                  <a:solidFill>
                    <a:schemeClr val="accent3"/>
                  </a:solidFill>
                </a:rPr>
              </a:br>
              <a:r>
                <a:rPr lang="en-GB" sz="1200">
                  <a:solidFill>
                    <a:schemeClr val="accent3"/>
                  </a:solidFill>
                </a:rPr>
                <a:t>and inspections</a:t>
              </a:r>
            </a:p>
          </p:txBody>
        </p:sp>
        <p:sp>
          <p:nvSpPr>
            <p:cNvPr id="62" name="Rectangle 61">
              <a:extLst>
                <a:ext uri="{FF2B5EF4-FFF2-40B4-BE49-F238E27FC236}">
                  <a16:creationId xmlns:a16="http://schemas.microsoft.com/office/drawing/2014/main" id="{E5E82093-E86D-429A-B5D7-6A648DE48827}"/>
                </a:ext>
              </a:extLst>
            </p:cNvPr>
            <p:cNvSpPr/>
            <p:nvPr>
              <p:custDataLst>
                <p:tags r:id="rId15"/>
              </p:custDataLst>
            </p:nvPr>
          </p:nvSpPr>
          <p:spPr bwMode="gray">
            <a:xfrm>
              <a:off x="1559672" y="5193228"/>
              <a:ext cx="1584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3"/>
                  </a:solidFill>
                </a:rPr>
                <a:t>business and technical</a:t>
              </a:r>
              <a:br>
                <a:rPr lang="en-GB" sz="1200">
                  <a:solidFill>
                    <a:schemeClr val="accent3"/>
                  </a:solidFill>
                </a:rPr>
              </a:br>
              <a:r>
                <a:rPr lang="en-GB" sz="1200">
                  <a:solidFill>
                    <a:schemeClr val="accent3"/>
                  </a:solidFill>
                </a:rPr>
                <a:t>operation management</a:t>
              </a:r>
            </a:p>
          </p:txBody>
        </p:sp>
        <p:sp>
          <p:nvSpPr>
            <p:cNvPr id="63" name="Rectangle 62">
              <a:extLst>
                <a:ext uri="{FF2B5EF4-FFF2-40B4-BE49-F238E27FC236}">
                  <a16:creationId xmlns:a16="http://schemas.microsoft.com/office/drawing/2014/main" id="{1583B45D-35E5-4C8A-B452-C8DC474BF3D2}"/>
                </a:ext>
              </a:extLst>
            </p:cNvPr>
            <p:cNvSpPr/>
            <p:nvPr>
              <p:custDataLst>
                <p:tags r:id="rId16"/>
              </p:custDataLst>
            </p:nvPr>
          </p:nvSpPr>
          <p:spPr bwMode="gray">
            <a:xfrm>
              <a:off x="1919716" y="5589240"/>
              <a:ext cx="162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3"/>
                  </a:solidFill>
                </a:rPr>
                <a:t>repowering/revamping</a:t>
              </a:r>
            </a:p>
          </p:txBody>
        </p:sp>
        <p:sp>
          <p:nvSpPr>
            <p:cNvPr id="64" name="Rectangle 63">
              <a:extLst>
                <a:ext uri="{FF2B5EF4-FFF2-40B4-BE49-F238E27FC236}">
                  <a16:creationId xmlns:a16="http://schemas.microsoft.com/office/drawing/2014/main" id="{7C86891E-CD4D-4630-AA20-5097E341A077}"/>
                </a:ext>
              </a:extLst>
            </p:cNvPr>
            <p:cNvSpPr/>
            <p:nvPr>
              <p:custDataLst>
                <p:tags r:id="rId17"/>
              </p:custDataLst>
            </p:nvPr>
          </p:nvSpPr>
          <p:spPr bwMode="gray">
            <a:xfrm>
              <a:off x="2675780" y="6093296"/>
              <a:ext cx="144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lstStyle/>
            <a:p>
              <a:pPr algn="r"/>
              <a:r>
                <a:rPr lang="en-GB" sz="1200">
                  <a:solidFill>
                    <a:schemeClr val="accent3"/>
                  </a:solidFill>
                </a:rPr>
                <a:t>decommissioning/</a:t>
              </a:r>
              <a:br>
                <a:rPr lang="en-GB" sz="1200">
                  <a:solidFill>
                    <a:schemeClr val="accent3"/>
                  </a:solidFill>
                </a:rPr>
              </a:br>
              <a:r>
                <a:rPr lang="en-GB" sz="1200">
                  <a:solidFill>
                    <a:schemeClr val="accent3"/>
                  </a:solidFill>
                </a:rPr>
                <a:t>recycling</a:t>
              </a:r>
            </a:p>
          </p:txBody>
        </p:sp>
      </p:grpSp>
      <p:sp>
        <p:nvSpPr>
          <p:cNvPr id="5" name="Slide Number Placeholder 4">
            <a:extLst>
              <a:ext uri="{FF2B5EF4-FFF2-40B4-BE49-F238E27FC236}">
                <a16:creationId xmlns:a16="http://schemas.microsoft.com/office/drawing/2014/main" id="{3709FF2A-8D20-D080-2146-17B16CCA53DC}"/>
              </a:ext>
            </a:extLst>
          </p:cNvPr>
          <p:cNvSpPr>
            <a:spLocks noGrp="1"/>
          </p:cNvSpPr>
          <p:nvPr>
            <p:ph type="sldNum" sz="quarter" idx="12"/>
          </p:nvPr>
        </p:nvSpPr>
        <p:spPr/>
        <p:txBody>
          <a:bodyPr/>
          <a:lstStyle/>
          <a:p>
            <a:fld id="{3B140A39-527A-45CF-A911-B921024B92E6}" type="slidenum">
              <a:rPr lang="en-GB" smtClean="0"/>
              <a:t>14</a:t>
            </a:fld>
            <a:endParaRPr lang="en-GB"/>
          </a:p>
        </p:txBody>
      </p:sp>
      <p:pic>
        <p:nvPicPr>
          <p:cNvPr id="10" name="Picture 59" descr="A close up of a sign&#10;&#10;Description automatically generated">
            <a:extLst>
              <a:ext uri="{FF2B5EF4-FFF2-40B4-BE49-F238E27FC236}">
                <a16:creationId xmlns:a16="http://schemas.microsoft.com/office/drawing/2014/main" id="{320398C5-3E84-5377-5EF3-0A1F565AC874}"/>
              </a:ext>
            </a:extLst>
          </p:cNvPr>
          <p:cNvPicPr>
            <a:picLocks noChangeAspect="1"/>
          </p:cNvPicPr>
          <p:nvPr>
            <p:custDataLst>
              <p:tags r:id="rId9"/>
            </p:custDataLst>
          </p:nvPr>
        </p:nvPicPr>
        <p:blipFill>
          <a:blip r:embed="rId56" cstate="print">
            <a:biLevel thresh="25000"/>
            <a:extLst>
              <a:ext uri="{28A0092B-C50C-407E-A947-70E740481C1C}">
                <a14:useLocalDpi xmlns:a14="http://schemas.microsoft.com/office/drawing/2010/main" val="0"/>
              </a:ext>
            </a:extLst>
          </a:blip>
          <a:stretch>
            <a:fillRect/>
          </a:stretch>
        </p:blipFill>
        <p:spPr bwMode="gray">
          <a:xfrm>
            <a:off x="3587236" y="3598389"/>
            <a:ext cx="1584000" cy="990000"/>
          </a:xfrm>
          <a:prstGeom prst="rect">
            <a:avLst/>
          </a:prstGeom>
          <a:noFill/>
        </p:spPr>
      </p:pic>
    </p:spTree>
    <p:extLst>
      <p:ext uri="{BB962C8B-B14F-4D97-AF65-F5344CB8AC3E}">
        <p14:creationId xmlns:p14="http://schemas.microsoft.com/office/powerpoint/2010/main" val="695323493"/>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5113069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de think-cell" r:id="rId5" imgW="360" imgH="360" progId="TCLayout.ActiveDocument.1">
                  <p:embed/>
                </p:oleObj>
              </mc:Choice>
              <mc:Fallback>
                <p:oleObj name="Diapositiva de think-cell" r:id="rId5" imgW="360" imgH="360" progId="TCLayout.ActiveDocument.1">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platzhalter 7"/>
          <p:cNvSpPr>
            <a:spLocks noGrp="1"/>
          </p:cNvSpPr>
          <p:nvPr>
            <p:ph type="body" sz="quarter" idx="13"/>
            <p:custDataLst>
              <p:tags r:id="rId2"/>
            </p:custDataLst>
          </p:nvPr>
        </p:nvSpPr>
        <p:spPr bwMode="gray"/>
        <p:txBody>
          <a:bodyPr/>
          <a:lstStyle/>
          <a:p>
            <a:pPr>
              <a:lnSpc>
                <a:spcPct val="100000"/>
              </a:lnSpc>
            </a:pPr>
            <a:r>
              <a:rPr lang="de-DE"/>
              <a:t>BayWa </a:t>
            </a:r>
            <a:r>
              <a:rPr lang="de-DE" err="1"/>
              <a:t>r.e</a:t>
            </a:r>
            <a:r>
              <a:rPr lang="de-DE"/>
              <a:t>. Romania </a:t>
            </a:r>
          </a:p>
          <a:p>
            <a:pPr lvl="1"/>
            <a:endParaRPr lang="de-DE"/>
          </a:p>
          <a:p>
            <a:pPr lvl="1"/>
            <a:r>
              <a:rPr lang="de-DE"/>
              <a:t>246C </a:t>
            </a:r>
            <a:r>
              <a:rPr lang="de-DE" err="1"/>
              <a:t>Calea</a:t>
            </a:r>
            <a:r>
              <a:rPr lang="de-DE"/>
              <a:t> </a:t>
            </a:r>
            <a:r>
              <a:rPr lang="de-DE" err="1"/>
              <a:t>Floreasca</a:t>
            </a:r>
            <a:r>
              <a:rPr lang="de-DE"/>
              <a:t>, </a:t>
            </a:r>
            <a:r>
              <a:rPr lang="de-DE" err="1"/>
              <a:t>Skytower</a:t>
            </a:r>
            <a:r>
              <a:rPr lang="de-DE"/>
              <a:t> Office Building, </a:t>
            </a:r>
            <a:r>
              <a:rPr lang="de-DE" err="1"/>
              <a:t>floor</a:t>
            </a:r>
            <a:r>
              <a:rPr lang="de-DE"/>
              <a:t> 12, </a:t>
            </a:r>
            <a:r>
              <a:rPr lang="de-DE" err="1"/>
              <a:t>District</a:t>
            </a:r>
            <a:r>
              <a:rPr lang="de-DE"/>
              <a:t> 1</a:t>
            </a:r>
          </a:p>
          <a:p>
            <a:pPr lvl="1"/>
            <a:r>
              <a:rPr lang="de-DE"/>
              <a:t>014476 </a:t>
            </a:r>
            <a:r>
              <a:rPr lang="de-DE" err="1"/>
              <a:t>Bucharest</a:t>
            </a:r>
            <a:r>
              <a:rPr lang="de-DE"/>
              <a:t>, Romania</a:t>
            </a:r>
          </a:p>
        </p:txBody>
      </p:sp>
      <p:sp>
        <p:nvSpPr>
          <p:cNvPr id="2" name="Titel 1">
            <a:extLst>
              <a:ext uri="{FF2B5EF4-FFF2-40B4-BE49-F238E27FC236}">
                <a16:creationId xmlns:a16="http://schemas.microsoft.com/office/drawing/2014/main" id="{462D3B53-9E35-4373-AA2B-17767CC121A2}"/>
              </a:ext>
            </a:extLst>
          </p:cNvPr>
          <p:cNvSpPr>
            <a:spLocks noGrp="1"/>
          </p:cNvSpPr>
          <p:nvPr>
            <p:ph type="title"/>
          </p:nvPr>
        </p:nvSpPr>
        <p:spPr bwMode="gray"/>
        <p:txBody>
          <a:bodyPr/>
          <a:lstStyle/>
          <a:p>
            <a:r>
              <a:rPr lang="en-US"/>
              <a:t>Thank you!</a:t>
            </a:r>
          </a:p>
        </p:txBody>
      </p:sp>
      <p:sp>
        <p:nvSpPr>
          <p:cNvPr id="3" name="Textplatzhalter 2">
            <a:extLst>
              <a:ext uri="{FF2B5EF4-FFF2-40B4-BE49-F238E27FC236}">
                <a16:creationId xmlns:a16="http://schemas.microsoft.com/office/drawing/2014/main" id="{54805740-51B3-4FD1-8401-8DF6B0A5D061}"/>
              </a:ext>
            </a:extLst>
          </p:cNvPr>
          <p:cNvSpPr>
            <a:spLocks noGrp="1"/>
          </p:cNvSpPr>
          <p:nvPr>
            <p:ph type="body" sz="quarter" idx="35"/>
          </p:nvPr>
        </p:nvSpPr>
        <p:spPr bwMode="gray"/>
        <p:txBody>
          <a:bodyPr/>
          <a:lstStyle/>
          <a:p>
            <a:endParaRPr lang="en-US"/>
          </a:p>
        </p:txBody>
      </p:sp>
    </p:spTree>
    <p:extLst>
      <p:ext uri="{BB962C8B-B14F-4D97-AF65-F5344CB8AC3E}">
        <p14:creationId xmlns:p14="http://schemas.microsoft.com/office/powerpoint/2010/main" val="2918566256"/>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platzhalter 13" descr="Ein Bild, das Himmel, draußen, Gras, Natur enthält.&#10;&#10;Automatisch generierte Beschreibung">
            <a:extLst>
              <a:ext uri="{FF2B5EF4-FFF2-40B4-BE49-F238E27FC236}">
                <a16:creationId xmlns:a16="http://schemas.microsoft.com/office/drawing/2014/main" id="{90E42F03-54E9-494B-8E61-A2E16F3BD543}"/>
              </a:ext>
            </a:extLst>
          </p:cNvPr>
          <p:cNvPicPr>
            <a:picLocks noGrp="1" noChangeAspect="1"/>
          </p:cNvPicPr>
          <p:nvPr>
            <p:ph type="pic" sz="quarter" idx="10"/>
          </p:nvPr>
        </p:nvPicPr>
        <p:blipFill>
          <a:blip r:embed="rId16">
            <a:extLst>
              <a:ext uri="{28A0092B-C50C-407E-A947-70E740481C1C}">
                <a14:useLocalDpi xmlns:a14="http://schemas.microsoft.com/office/drawing/2010/main" val="0"/>
              </a:ext>
            </a:extLst>
          </a:blip>
          <a:srcRect t="26" b="26"/>
          <a:stretch>
            <a:fillRect/>
          </a:stretch>
        </p:blipFill>
        <p:spPr/>
      </p:pic>
      <p:grpSp>
        <p:nvGrpSpPr>
          <p:cNvPr id="39" name="Gruppieren 38">
            <a:extLst>
              <a:ext uri="{FF2B5EF4-FFF2-40B4-BE49-F238E27FC236}">
                <a16:creationId xmlns:a16="http://schemas.microsoft.com/office/drawing/2014/main" id="{D115DF05-F576-4BDD-9B1E-CD18BFE2556F}"/>
              </a:ext>
            </a:extLst>
          </p:cNvPr>
          <p:cNvGrpSpPr/>
          <p:nvPr/>
        </p:nvGrpSpPr>
        <p:grpSpPr bwMode="gray">
          <a:xfrm flipH="1">
            <a:off x="412667" y="3416968"/>
            <a:ext cx="2708695" cy="1329919"/>
            <a:chOff x="4223465" y="1556740"/>
            <a:chExt cx="3287830" cy="2232932"/>
          </a:xfrm>
        </p:grpSpPr>
        <p:sp>
          <p:nvSpPr>
            <p:cNvPr id="40" name="Text Placeholder 1">
              <a:extLst>
                <a:ext uri="{FF2B5EF4-FFF2-40B4-BE49-F238E27FC236}">
                  <a16:creationId xmlns:a16="http://schemas.microsoft.com/office/drawing/2014/main" id="{E828D55C-59E3-415D-A3E0-D5F710E831CB}"/>
                </a:ext>
              </a:extLst>
            </p:cNvPr>
            <p:cNvSpPr txBox="1">
              <a:spLocks/>
            </p:cNvSpPr>
            <p:nvPr>
              <p:custDataLst>
                <p:tags r:id="rId12"/>
              </p:custDataLst>
            </p:nvPr>
          </p:nvSpPr>
          <p:spPr bwMode="gray">
            <a:xfrm>
              <a:off x="4223465" y="1556740"/>
              <a:ext cx="3287830" cy="2232932"/>
            </a:xfrm>
            <a:prstGeom prst="rect">
              <a:avLst/>
            </a:prstGeom>
            <a:noFill/>
            <a:ln w="6350">
              <a:solidFill>
                <a:schemeClr val="accent5"/>
              </a:solidFill>
            </a:ln>
          </p:spPr>
          <p:txBody>
            <a:bodyPr vert="horz" lIns="144000" tIns="144000" rIns="144000" bIns="0" rtlCol="0" anchor="t">
              <a:noAutofit/>
            </a:bodyPr>
            <a:lstStyle>
              <a:lvl1pPr lvl="0" indent="0">
                <a:lnSpc>
                  <a:spcPct val="114000"/>
                </a:lnSpc>
                <a:spcBef>
                  <a:spcPts val="1500"/>
                </a:spcBef>
                <a:spcAft>
                  <a:spcPts val="0"/>
                </a:spcAft>
                <a:buFont typeface="Arial" pitchFamily="34" charset="0"/>
                <a:buNone/>
                <a:defRPr sz="1400" b="0">
                  <a:latin typeface="+mj-lt"/>
                </a:defRPr>
              </a:lvl1pPr>
              <a:lvl2pPr marL="0" lvl="1" indent="0">
                <a:lnSpc>
                  <a:spcPct val="114000"/>
                </a:lnSpc>
                <a:spcBef>
                  <a:spcPts val="500"/>
                </a:spcBef>
                <a:spcAft>
                  <a:spcPts val="500"/>
                </a:spcAft>
                <a:buFont typeface="Arial" pitchFamily="34" charset="0"/>
                <a:buNone/>
                <a:defRPr sz="1400"/>
              </a:lvl2pPr>
              <a:lvl3pPr marL="180000" lvl="2" indent="-180000">
                <a:lnSpc>
                  <a:spcPct val="114000"/>
                </a:lnSpc>
                <a:spcBef>
                  <a:spcPts val="500"/>
                </a:spcBef>
                <a:spcAft>
                  <a:spcPts val="250"/>
                </a:spcAft>
                <a:buFont typeface="Arial" pitchFamily="34" charset="0"/>
                <a:buChar char="•"/>
                <a:defRPr sz="1400"/>
              </a:lvl3pPr>
              <a:lvl4pPr marL="360000" lvl="3" indent="-180000">
                <a:lnSpc>
                  <a:spcPct val="114000"/>
                </a:lnSpc>
                <a:spcBef>
                  <a:spcPts val="250"/>
                </a:spcBef>
                <a:spcAft>
                  <a:spcPts val="250"/>
                </a:spcAft>
                <a:buFont typeface="Symbol" panose="05050102010706020507" pitchFamily="18" charset="2"/>
                <a:buChar char="-"/>
                <a:defRPr sz="1400"/>
              </a:lvl4pPr>
              <a:lvl5pPr marL="540000" lvl="4" indent="-180000">
                <a:lnSpc>
                  <a:spcPct val="114000"/>
                </a:lnSpc>
                <a:spcBef>
                  <a:spcPts val="250"/>
                </a:spcBef>
                <a:spcAft>
                  <a:spcPts val="250"/>
                </a:spcAft>
                <a:buFont typeface="Symbol" panose="05050102010706020507" pitchFamily="18" charset="2"/>
                <a:buChar char=""/>
                <a:defRPr sz="1400"/>
              </a:lvl5pPr>
              <a:lvl6pPr marL="720000" lvl="5" indent="-180000">
                <a:lnSpc>
                  <a:spcPct val="114000"/>
                </a:lnSpc>
                <a:spcBef>
                  <a:spcPts val="250"/>
                </a:spcBef>
                <a:spcAft>
                  <a:spcPts val="250"/>
                </a:spcAft>
                <a:buFont typeface="Symbol" panose="05050102010706020507" pitchFamily="18" charset="2"/>
                <a:buChar char="-"/>
                <a:defRPr sz="1400"/>
              </a:lvl6pPr>
              <a:lvl7pPr marL="720000" lvl="6" indent="-180000">
                <a:lnSpc>
                  <a:spcPct val="114000"/>
                </a:lnSpc>
                <a:spcBef>
                  <a:spcPts val="250"/>
                </a:spcBef>
                <a:spcAft>
                  <a:spcPts val="250"/>
                </a:spcAft>
                <a:buFont typeface="Symbol" panose="05050102010706020507" pitchFamily="18" charset="2"/>
                <a:buChar char="-"/>
                <a:defRPr sz="1400"/>
              </a:lvl7pPr>
              <a:lvl8pPr marL="720000" lvl="7" indent="-180000">
                <a:lnSpc>
                  <a:spcPct val="114000"/>
                </a:lnSpc>
                <a:spcBef>
                  <a:spcPts val="250"/>
                </a:spcBef>
                <a:spcAft>
                  <a:spcPts val="250"/>
                </a:spcAft>
                <a:buFont typeface="Symbol" panose="05050102010706020507" pitchFamily="18" charset="2"/>
                <a:buChar char="-"/>
                <a:defRPr sz="1400"/>
              </a:lvl8pPr>
              <a:lvl9pPr marL="720000" lvl="8" indent="-180000">
                <a:lnSpc>
                  <a:spcPct val="114000"/>
                </a:lnSpc>
                <a:spcBef>
                  <a:spcPts val="250"/>
                </a:spcBef>
                <a:spcAft>
                  <a:spcPts val="250"/>
                </a:spcAft>
                <a:buFont typeface="Symbol" panose="05050102010706020507" pitchFamily="18" charset="2"/>
                <a:buChar char="-"/>
                <a:defRPr sz="1400"/>
              </a:lvl9pPr>
            </a:lstStyle>
            <a:p>
              <a:pPr lvl="1" indent="-179705"/>
              <a:r>
                <a:rPr lang="de-DE" sz="1600" b="1">
                  <a:solidFill>
                    <a:schemeClr val="accent3"/>
                  </a:solidFill>
                </a:rPr>
                <a:t>Turnover 2023</a:t>
              </a:r>
              <a:endParaRPr lang="en-US"/>
            </a:p>
          </p:txBody>
        </p:sp>
        <p:sp>
          <p:nvSpPr>
            <p:cNvPr id="41" name="Textfeld 62">
              <a:extLst>
                <a:ext uri="{FF2B5EF4-FFF2-40B4-BE49-F238E27FC236}">
                  <a16:creationId xmlns:a16="http://schemas.microsoft.com/office/drawing/2014/main" id="{7BEBC91E-C6BB-4AE8-9E32-1C8758158677}"/>
                </a:ext>
              </a:extLst>
            </p:cNvPr>
            <p:cNvSpPr txBox="1"/>
            <p:nvPr>
              <p:custDataLst>
                <p:tags r:id="rId13"/>
              </p:custDataLst>
            </p:nvPr>
          </p:nvSpPr>
          <p:spPr bwMode="gray">
            <a:xfrm>
              <a:off x="4665579" y="2445644"/>
              <a:ext cx="2752031" cy="634909"/>
            </a:xfrm>
            <a:prstGeom prst="rect">
              <a:avLst/>
            </a:prstGeom>
            <a:noFill/>
            <a:ln>
              <a:noFill/>
            </a:ln>
          </p:spPr>
          <p:txBody>
            <a:bodyPr wrap="square" lIns="144000" tIns="144000" rIns="144000" bIns="0" rtlCol="0" anchor="ctr">
              <a:noAutofit/>
            </a:bodyPr>
            <a:lstStyle/>
            <a:p>
              <a:pPr fontAlgn="base">
                <a:spcBef>
                  <a:spcPts val="300"/>
                </a:spcBef>
                <a:spcAft>
                  <a:spcPct val="0"/>
                </a:spcAft>
                <a:buClr>
                  <a:srgbClr val="000000"/>
                </a:buClr>
                <a:tabLst>
                  <a:tab pos="4124325" algn="l"/>
                </a:tabLst>
              </a:pPr>
              <a:endParaRPr lang="de-DE" sz="1400" b="1">
                <a:solidFill>
                  <a:schemeClr val="accent1"/>
                </a:solidFill>
                <a:latin typeface="+mj-lt"/>
              </a:endParaRPr>
            </a:p>
          </p:txBody>
        </p:sp>
      </p:grpSp>
      <p:grpSp>
        <p:nvGrpSpPr>
          <p:cNvPr id="34" name="Gruppieren 33">
            <a:extLst>
              <a:ext uri="{FF2B5EF4-FFF2-40B4-BE49-F238E27FC236}">
                <a16:creationId xmlns:a16="http://schemas.microsoft.com/office/drawing/2014/main" id="{6D21A56C-CA5A-46BA-AF00-ACE6CE668024}"/>
              </a:ext>
            </a:extLst>
          </p:cNvPr>
          <p:cNvGrpSpPr/>
          <p:nvPr/>
        </p:nvGrpSpPr>
        <p:grpSpPr bwMode="gray">
          <a:xfrm>
            <a:off x="456392" y="3416968"/>
            <a:ext cx="5453244" cy="1329919"/>
            <a:chOff x="892115" y="1556740"/>
            <a:chExt cx="6619180" cy="2232932"/>
          </a:xfrm>
        </p:grpSpPr>
        <p:sp>
          <p:nvSpPr>
            <p:cNvPr id="37" name="Text Placeholder 1">
              <a:extLst>
                <a:ext uri="{FF2B5EF4-FFF2-40B4-BE49-F238E27FC236}">
                  <a16:creationId xmlns:a16="http://schemas.microsoft.com/office/drawing/2014/main" id="{43D1F6E8-C066-44F1-A879-4B5D200B2B53}"/>
                </a:ext>
              </a:extLst>
            </p:cNvPr>
            <p:cNvSpPr txBox="1">
              <a:spLocks/>
            </p:cNvSpPr>
            <p:nvPr>
              <p:custDataLst>
                <p:tags r:id="rId9"/>
              </p:custDataLst>
            </p:nvPr>
          </p:nvSpPr>
          <p:spPr bwMode="gray">
            <a:xfrm>
              <a:off x="4223465" y="1556740"/>
              <a:ext cx="3287830" cy="2232932"/>
            </a:xfrm>
            <a:prstGeom prst="rect">
              <a:avLst/>
            </a:prstGeom>
            <a:noFill/>
            <a:ln w="6350">
              <a:solidFill>
                <a:schemeClr val="accent5"/>
              </a:solidFill>
            </a:ln>
          </p:spPr>
          <p:txBody>
            <a:bodyPr vert="horz" lIns="144000" tIns="144000" rIns="144000" bIns="0" rtlCol="0" anchor="t">
              <a:noAutofit/>
            </a:bodyPr>
            <a:lstStyle>
              <a:lvl1pPr lvl="0" indent="0">
                <a:lnSpc>
                  <a:spcPct val="114000"/>
                </a:lnSpc>
                <a:spcBef>
                  <a:spcPts val="1500"/>
                </a:spcBef>
                <a:spcAft>
                  <a:spcPts val="0"/>
                </a:spcAft>
                <a:buFont typeface="Arial" pitchFamily="34" charset="0"/>
                <a:buNone/>
                <a:defRPr sz="1400" b="0">
                  <a:latin typeface="+mj-lt"/>
                </a:defRPr>
              </a:lvl1pPr>
              <a:lvl2pPr marL="0" lvl="1" indent="0">
                <a:lnSpc>
                  <a:spcPct val="114000"/>
                </a:lnSpc>
                <a:spcBef>
                  <a:spcPts val="500"/>
                </a:spcBef>
                <a:spcAft>
                  <a:spcPts val="500"/>
                </a:spcAft>
                <a:buFont typeface="Arial" pitchFamily="34" charset="0"/>
                <a:buNone/>
                <a:defRPr sz="1400"/>
              </a:lvl2pPr>
              <a:lvl3pPr marL="180000" lvl="2" indent="-180000">
                <a:lnSpc>
                  <a:spcPct val="114000"/>
                </a:lnSpc>
                <a:spcBef>
                  <a:spcPts val="500"/>
                </a:spcBef>
                <a:spcAft>
                  <a:spcPts val="250"/>
                </a:spcAft>
                <a:buFont typeface="Arial" pitchFamily="34" charset="0"/>
                <a:buChar char="•"/>
                <a:defRPr sz="1400"/>
              </a:lvl3pPr>
              <a:lvl4pPr marL="360000" lvl="3" indent="-180000">
                <a:lnSpc>
                  <a:spcPct val="114000"/>
                </a:lnSpc>
                <a:spcBef>
                  <a:spcPts val="250"/>
                </a:spcBef>
                <a:spcAft>
                  <a:spcPts val="250"/>
                </a:spcAft>
                <a:buFont typeface="Symbol" panose="05050102010706020507" pitchFamily="18" charset="2"/>
                <a:buChar char="-"/>
                <a:defRPr sz="1400"/>
              </a:lvl4pPr>
              <a:lvl5pPr marL="540000" lvl="4" indent="-180000">
                <a:lnSpc>
                  <a:spcPct val="114000"/>
                </a:lnSpc>
                <a:spcBef>
                  <a:spcPts val="250"/>
                </a:spcBef>
                <a:spcAft>
                  <a:spcPts val="250"/>
                </a:spcAft>
                <a:buFont typeface="Symbol" panose="05050102010706020507" pitchFamily="18" charset="2"/>
                <a:buChar char=""/>
                <a:defRPr sz="1400"/>
              </a:lvl5pPr>
              <a:lvl6pPr marL="720000" lvl="5" indent="-180000">
                <a:lnSpc>
                  <a:spcPct val="114000"/>
                </a:lnSpc>
                <a:spcBef>
                  <a:spcPts val="250"/>
                </a:spcBef>
                <a:spcAft>
                  <a:spcPts val="250"/>
                </a:spcAft>
                <a:buFont typeface="Symbol" panose="05050102010706020507" pitchFamily="18" charset="2"/>
                <a:buChar char="-"/>
                <a:defRPr sz="1400"/>
              </a:lvl6pPr>
              <a:lvl7pPr marL="720000" lvl="6" indent="-180000">
                <a:lnSpc>
                  <a:spcPct val="114000"/>
                </a:lnSpc>
                <a:spcBef>
                  <a:spcPts val="250"/>
                </a:spcBef>
                <a:spcAft>
                  <a:spcPts val="250"/>
                </a:spcAft>
                <a:buFont typeface="Symbol" panose="05050102010706020507" pitchFamily="18" charset="2"/>
                <a:buChar char="-"/>
                <a:defRPr sz="1400"/>
              </a:lvl7pPr>
              <a:lvl8pPr marL="720000" lvl="7" indent="-180000">
                <a:lnSpc>
                  <a:spcPct val="114000"/>
                </a:lnSpc>
                <a:spcBef>
                  <a:spcPts val="250"/>
                </a:spcBef>
                <a:spcAft>
                  <a:spcPts val="250"/>
                </a:spcAft>
                <a:buFont typeface="Symbol" panose="05050102010706020507" pitchFamily="18" charset="2"/>
                <a:buChar char="-"/>
                <a:defRPr sz="1400"/>
              </a:lvl8pPr>
              <a:lvl9pPr marL="720000" lvl="8" indent="-180000">
                <a:lnSpc>
                  <a:spcPct val="114000"/>
                </a:lnSpc>
                <a:spcBef>
                  <a:spcPts val="250"/>
                </a:spcBef>
                <a:spcAft>
                  <a:spcPts val="250"/>
                </a:spcAft>
                <a:buFont typeface="Symbol" panose="05050102010706020507" pitchFamily="18" charset="2"/>
                <a:buChar char="-"/>
                <a:defRPr sz="1400"/>
              </a:lvl9pPr>
            </a:lstStyle>
            <a:p>
              <a:pPr marL="359410" lvl="4" indent="0" algn="r">
                <a:buNone/>
              </a:pPr>
              <a:r>
                <a:rPr lang="de-DE" sz="1600" b="1">
                  <a:solidFill>
                    <a:schemeClr val="accent3"/>
                  </a:solidFill>
                </a:rPr>
                <a:t>EBIT 2023</a:t>
              </a:r>
              <a:endParaRPr lang="en-US"/>
            </a:p>
          </p:txBody>
        </p:sp>
        <p:sp>
          <p:nvSpPr>
            <p:cNvPr id="38" name="Textfeld 62">
              <a:extLst>
                <a:ext uri="{FF2B5EF4-FFF2-40B4-BE49-F238E27FC236}">
                  <a16:creationId xmlns:a16="http://schemas.microsoft.com/office/drawing/2014/main" id="{EA19B858-D197-4AA8-B951-9CA74D3AA3DC}"/>
                </a:ext>
              </a:extLst>
            </p:cNvPr>
            <p:cNvSpPr txBox="1"/>
            <p:nvPr>
              <p:custDataLst>
                <p:tags r:id="rId10"/>
              </p:custDataLst>
            </p:nvPr>
          </p:nvSpPr>
          <p:spPr bwMode="gray">
            <a:xfrm>
              <a:off x="4837849" y="2530017"/>
              <a:ext cx="2609012" cy="634908"/>
            </a:xfrm>
            <a:prstGeom prst="rect">
              <a:avLst/>
            </a:prstGeom>
            <a:noFill/>
            <a:ln>
              <a:noFill/>
            </a:ln>
          </p:spPr>
          <p:txBody>
            <a:bodyPr wrap="square" lIns="144000" tIns="144000" rIns="144000" bIns="0" rtlCol="0" anchor="ctr">
              <a:noAutofit/>
            </a:bodyPr>
            <a:lstStyle/>
            <a:p>
              <a:pPr algn="r" fontAlgn="base">
                <a:spcBef>
                  <a:spcPts val="300"/>
                </a:spcBef>
                <a:spcAft>
                  <a:spcPct val="0"/>
                </a:spcAft>
                <a:buClr>
                  <a:srgbClr val="000000"/>
                </a:buClr>
                <a:tabLst>
                  <a:tab pos="4124325" algn="l"/>
                </a:tabLst>
              </a:pPr>
              <a:r>
                <a:rPr lang="de-DE" sz="2800" b="1">
                  <a:solidFill>
                    <a:schemeClr val="accent1"/>
                  </a:solidFill>
                  <a:latin typeface="+mj-lt"/>
                </a:rPr>
                <a:t>193.8M €</a:t>
              </a:r>
              <a:endParaRPr lang="de-DE" sz="1200" b="1">
                <a:solidFill>
                  <a:schemeClr val="accent1"/>
                </a:solidFill>
                <a:latin typeface="+mj-lt"/>
              </a:endParaRPr>
            </a:p>
          </p:txBody>
        </p:sp>
        <p:sp>
          <p:nvSpPr>
            <p:cNvPr id="67" name="Textfeld 62">
              <a:extLst>
                <a:ext uri="{FF2B5EF4-FFF2-40B4-BE49-F238E27FC236}">
                  <a16:creationId xmlns:a16="http://schemas.microsoft.com/office/drawing/2014/main" id="{4A043406-5CF8-40CA-90B5-1576C1C25F7D}"/>
                </a:ext>
              </a:extLst>
            </p:cNvPr>
            <p:cNvSpPr txBox="1"/>
            <p:nvPr>
              <p:custDataLst>
                <p:tags r:id="rId11"/>
              </p:custDataLst>
            </p:nvPr>
          </p:nvSpPr>
          <p:spPr bwMode="gray">
            <a:xfrm>
              <a:off x="892115" y="2519355"/>
              <a:ext cx="2609012" cy="634908"/>
            </a:xfrm>
            <a:prstGeom prst="rect">
              <a:avLst/>
            </a:prstGeom>
            <a:noFill/>
            <a:ln>
              <a:noFill/>
            </a:ln>
          </p:spPr>
          <p:txBody>
            <a:bodyPr wrap="square" lIns="144000" tIns="144000" rIns="144000" bIns="0" rtlCol="0" anchor="ctr">
              <a:noAutofit/>
            </a:bodyPr>
            <a:lstStyle/>
            <a:p>
              <a:pPr fontAlgn="base">
                <a:spcBef>
                  <a:spcPts val="300"/>
                </a:spcBef>
                <a:spcAft>
                  <a:spcPct val="0"/>
                </a:spcAft>
                <a:buClr>
                  <a:srgbClr val="000000"/>
                </a:buClr>
                <a:tabLst>
                  <a:tab pos="4124325" algn="l"/>
                </a:tabLst>
              </a:pPr>
              <a:r>
                <a:rPr lang="de-DE" sz="2800" b="1">
                  <a:solidFill>
                    <a:schemeClr val="accent1"/>
                  </a:solidFill>
                  <a:latin typeface="+mj-lt"/>
                </a:rPr>
                <a:t>5.8bn € </a:t>
              </a:r>
            </a:p>
          </p:txBody>
        </p:sp>
      </p:grpSp>
      <p:sp>
        <p:nvSpPr>
          <p:cNvPr id="61" name="Text Placeholder 1">
            <a:extLst>
              <a:ext uri="{FF2B5EF4-FFF2-40B4-BE49-F238E27FC236}">
                <a16:creationId xmlns:a16="http://schemas.microsoft.com/office/drawing/2014/main" id="{0C05CC6A-DA08-4054-9C7D-A6CF44B845ED}"/>
              </a:ext>
            </a:extLst>
          </p:cNvPr>
          <p:cNvSpPr txBox="1">
            <a:spLocks/>
          </p:cNvSpPr>
          <p:nvPr>
            <p:custDataLst>
              <p:tags r:id="rId1"/>
            </p:custDataLst>
          </p:nvPr>
        </p:nvSpPr>
        <p:spPr bwMode="gray">
          <a:xfrm>
            <a:off x="412667" y="2752630"/>
            <a:ext cx="5496967" cy="598841"/>
          </a:xfrm>
          <a:prstGeom prst="rect">
            <a:avLst/>
          </a:prstGeom>
          <a:ln>
            <a:solidFill>
              <a:schemeClr val="accent5"/>
            </a:solidFill>
          </a:ln>
        </p:spPr>
        <p:style>
          <a:lnRef idx="2">
            <a:schemeClr val="accent1"/>
          </a:lnRef>
          <a:fillRef idx="1">
            <a:schemeClr val="lt1"/>
          </a:fillRef>
          <a:effectRef idx="0">
            <a:schemeClr val="accent1"/>
          </a:effectRef>
          <a:fontRef idx="minor">
            <a:schemeClr val="dk1"/>
          </a:fontRef>
        </p:style>
        <p:txBody>
          <a:bodyPr vert="horz" lIns="144000" tIns="144000" rIns="144000" bIns="0" rtlCol="0" anchor="t">
            <a:noAutofit/>
          </a:bodyPr>
          <a:lstStyle>
            <a:lvl1pPr lvl="0" indent="0">
              <a:lnSpc>
                <a:spcPct val="114000"/>
              </a:lnSpc>
              <a:spcBef>
                <a:spcPts val="1500"/>
              </a:spcBef>
              <a:spcAft>
                <a:spcPts val="0"/>
              </a:spcAft>
              <a:buFont typeface="Arial" pitchFamily="34" charset="0"/>
              <a:buNone/>
              <a:defRPr sz="1400" b="0">
                <a:latin typeface="+mj-lt"/>
              </a:defRPr>
            </a:lvl1pPr>
            <a:lvl2pPr marL="0" lvl="1" indent="0">
              <a:lnSpc>
                <a:spcPct val="114000"/>
              </a:lnSpc>
              <a:spcBef>
                <a:spcPts val="500"/>
              </a:spcBef>
              <a:spcAft>
                <a:spcPts val="500"/>
              </a:spcAft>
              <a:buFont typeface="Arial" pitchFamily="34" charset="0"/>
              <a:buNone/>
              <a:defRPr sz="1400"/>
            </a:lvl2pPr>
            <a:lvl3pPr marL="180000" lvl="2" indent="-180000">
              <a:lnSpc>
                <a:spcPct val="114000"/>
              </a:lnSpc>
              <a:spcBef>
                <a:spcPts val="500"/>
              </a:spcBef>
              <a:spcAft>
                <a:spcPts val="250"/>
              </a:spcAft>
              <a:buFont typeface="Arial" pitchFamily="34" charset="0"/>
              <a:buChar char="•"/>
              <a:defRPr sz="1400"/>
            </a:lvl3pPr>
            <a:lvl4pPr marL="360000" lvl="3" indent="-180000">
              <a:lnSpc>
                <a:spcPct val="114000"/>
              </a:lnSpc>
              <a:spcBef>
                <a:spcPts val="250"/>
              </a:spcBef>
              <a:spcAft>
                <a:spcPts val="250"/>
              </a:spcAft>
              <a:buFont typeface="Symbol" panose="05050102010706020507" pitchFamily="18" charset="2"/>
              <a:buChar char="-"/>
              <a:defRPr sz="1400"/>
            </a:lvl4pPr>
            <a:lvl5pPr marL="540000" lvl="4" indent="-180000">
              <a:lnSpc>
                <a:spcPct val="114000"/>
              </a:lnSpc>
              <a:spcBef>
                <a:spcPts val="250"/>
              </a:spcBef>
              <a:spcAft>
                <a:spcPts val="250"/>
              </a:spcAft>
              <a:buFont typeface="Symbol" panose="05050102010706020507" pitchFamily="18" charset="2"/>
              <a:buChar char=""/>
              <a:defRPr sz="1400"/>
            </a:lvl5pPr>
            <a:lvl6pPr marL="720000" lvl="5" indent="-180000">
              <a:lnSpc>
                <a:spcPct val="114000"/>
              </a:lnSpc>
              <a:spcBef>
                <a:spcPts val="250"/>
              </a:spcBef>
              <a:spcAft>
                <a:spcPts val="250"/>
              </a:spcAft>
              <a:buFont typeface="Symbol" panose="05050102010706020507" pitchFamily="18" charset="2"/>
              <a:buChar char="-"/>
              <a:defRPr sz="1400"/>
            </a:lvl6pPr>
            <a:lvl7pPr marL="720000" lvl="6" indent="-180000">
              <a:lnSpc>
                <a:spcPct val="114000"/>
              </a:lnSpc>
              <a:spcBef>
                <a:spcPts val="250"/>
              </a:spcBef>
              <a:spcAft>
                <a:spcPts val="250"/>
              </a:spcAft>
              <a:buFont typeface="Symbol" panose="05050102010706020507" pitchFamily="18" charset="2"/>
              <a:buChar char="-"/>
              <a:defRPr sz="1400"/>
            </a:lvl7pPr>
            <a:lvl8pPr marL="720000" lvl="7" indent="-180000">
              <a:lnSpc>
                <a:spcPct val="114000"/>
              </a:lnSpc>
              <a:spcBef>
                <a:spcPts val="250"/>
              </a:spcBef>
              <a:spcAft>
                <a:spcPts val="250"/>
              </a:spcAft>
              <a:buFont typeface="Symbol" panose="05050102010706020507" pitchFamily="18" charset="2"/>
              <a:buChar char="-"/>
              <a:defRPr sz="1400"/>
            </a:lvl8pPr>
            <a:lvl9pPr marL="720000" lvl="8" indent="-180000">
              <a:lnSpc>
                <a:spcPct val="114000"/>
              </a:lnSpc>
              <a:spcBef>
                <a:spcPts val="250"/>
              </a:spcBef>
              <a:spcAft>
                <a:spcPts val="250"/>
              </a:spcAft>
              <a:buFont typeface="Symbol" panose="05050102010706020507" pitchFamily="18" charset="2"/>
              <a:buChar char="-"/>
              <a:defRPr sz="1400"/>
            </a:lvl9pPr>
          </a:lstStyle>
          <a:p>
            <a:pPr>
              <a:lnSpc>
                <a:spcPct val="100000"/>
              </a:lnSpc>
            </a:pPr>
            <a:r>
              <a:rPr lang="de-DE" sz="1600" b="1" i="0" err="1">
                <a:solidFill>
                  <a:schemeClr val="accent3"/>
                </a:solidFill>
                <a:effectLst/>
                <a:latin typeface="Arial" panose="020B0604020202020204" pitchFamily="34" charset="0"/>
              </a:rPr>
              <a:t>Founded</a:t>
            </a:r>
            <a:endParaRPr lang="de-DE" sz="1600" b="1" i="0">
              <a:solidFill>
                <a:schemeClr val="accent3"/>
              </a:solidFill>
              <a:effectLst/>
              <a:latin typeface="Arial" panose="020B0604020202020204" pitchFamily="34" charset="0"/>
            </a:endParaRPr>
          </a:p>
        </p:txBody>
      </p:sp>
      <p:grpSp>
        <p:nvGrpSpPr>
          <p:cNvPr id="42" name="Gruppieren 41">
            <a:extLst>
              <a:ext uri="{FF2B5EF4-FFF2-40B4-BE49-F238E27FC236}">
                <a16:creationId xmlns:a16="http://schemas.microsoft.com/office/drawing/2014/main" id="{CFC2E59D-4909-4481-8E16-97119DAD7B29}"/>
              </a:ext>
            </a:extLst>
          </p:cNvPr>
          <p:cNvGrpSpPr/>
          <p:nvPr/>
        </p:nvGrpSpPr>
        <p:grpSpPr bwMode="gray">
          <a:xfrm flipH="1">
            <a:off x="404869" y="4835385"/>
            <a:ext cx="2708695" cy="1329919"/>
            <a:chOff x="4223465" y="1556740"/>
            <a:chExt cx="3287830" cy="2232932"/>
          </a:xfrm>
        </p:grpSpPr>
        <p:sp>
          <p:nvSpPr>
            <p:cNvPr id="43" name="Text Placeholder 1">
              <a:extLst>
                <a:ext uri="{FF2B5EF4-FFF2-40B4-BE49-F238E27FC236}">
                  <a16:creationId xmlns:a16="http://schemas.microsoft.com/office/drawing/2014/main" id="{FDCEAD37-2F74-449B-AE0E-5A9D358BBBD0}"/>
                </a:ext>
              </a:extLst>
            </p:cNvPr>
            <p:cNvSpPr txBox="1">
              <a:spLocks/>
            </p:cNvSpPr>
            <p:nvPr>
              <p:custDataLst>
                <p:tags r:id="rId7"/>
              </p:custDataLst>
            </p:nvPr>
          </p:nvSpPr>
          <p:spPr bwMode="gray">
            <a:xfrm>
              <a:off x="4223465" y="1556740"/>
              <a:ext cx="3287830" cy="2232932"/>
            </a:xfrm>
            <a:prstGeom prst="rect">
              <a:avLst/>
            </a:prstGeom>
            <a:noFill/>
            <a:ln w="6350">
              <a:solidFill>
                <a:schemeClr val="accent5"/>
              </a:solidFill>
            </a:ln>
          </p:spPr>
          <p:txBody>
            <a:bodyPr vert="horz" lIns="144000" tIns="144000" rIns="144000" bIns="0" rtlCol="0">
              <a:noAutofit/>
            </a:bodyPr>
            <a:lstStyle>
              <a:lvl1pPr lvl="0" indent="0">
                <a:lnSpc>
                  <a:spcPct val="114000"/>
                </a:lnSpc>
                <a:spcBef>
                  <a:spcPts val="1500"/>
                </a:spcBef>
                <a:spcAft>
                  <a:spcPts val="0"/>
                </a:spcAft>
                <a:buFont typeface="Arial" pitchFamily="34" charset="0"/>
                <a:buNone/>
                <a:defRPr sz="1400" b="0">
                  <a:latin typeface="+mj-lt"/>
                </a:defRPr>
              </a:lvl1pPr>
              <a:lvl2pPr marL="0" lvl="1" indent="0">
                <a:lnSpc>
                  <a:spcPct val="114000"/>
                </a:lnSpc>
                <a:spcBef>
                  <a:spcPts val="500"/>
                </a:spcBef>
                <a:spcAft>
                  <a:spcPts val="500"/>
                </a:spcAft>
                <a:buFont typeface="Arial" pitchFamily="34" charset="0"/>
                <a:buNone/>
                <a:defRPr sz="1400"/>
              </a:lvl2pPr>
              <a:lvl3pPr marL="180000" lvl="2" indent="-180000">
                <a:lnSpc>
                  <a:spcPct val="114000"/>
                </a:lnSpc>
                <a:spcBef>
                  <a:spcPts val="500"/>
                </a:spcBef>
                <a:spcAft>
                  <a:spcPts val="250"/>
                </a:spcAft>
                <a:buFont typeface="Arial" pitchFamily="34" charset="0"/>
                <a:buChar char="•"/>
                <a:defRPr sz="1400"/>
              </a:lvl3pPr>
              <a:lvl4pPr marL="360000" lvl="3" indent="-180000">
                <a:lnSpc>
                  <a:spcPct val="114000"/>
                </a:lnSpc>
                <a:spcBef>
                  <a:spcPts val="250"/>
                </a:spcBef>
                <a:spcAft>
                  <a:spcPts val="250"/>
                </a:spcAft>
                <a:buFont typeface="Symbol" panose="05050102010706020507" pitchFamily="18" charset="2"/>
                <a:buChar char="-"/>
                <a:defRPr sz="1400"/>
              </a:lvl4pPr>
              <a:lvl5pPr marL="540000" lvl="4" indent="-180000">
                <a:lnSpc>
                  <a:spcPct val="114000"/>
                </a:lnSpc>
                <a:spcBef>
                  <a:spcPts val="250"/>
                </a:spcBef>
                <a:spcAft>
                  <a:spcPts val="250"/>
                </a:spcAft>
                <a:buFont typeface="Symbol" panose="05050102010706020507" pitchFamily="18" charset="2"/>
                <a:buChar char=""/>
                <a:defRPr sz="1400"/>
              </a:lvl5pPr>
              <a:lvl6pPr marL="720000" lvl="5" indent="-180000">
                <a:lnSpc>
                  <a:spcPct val="114000"/>
                </a:lnSpc>
                <a:spcBef>
                  <a:spcPts val="250"/>
                </a:spcBef>
                <a:spcAft>
                  <a:spcPts val="250"/>
                </a:spcAft>
                <a:buFont typeface="Symbol" panose="05050102010706020507" pitchFamily="18" charset="2"/>
                <a:buChar char="-"/>
                <a:defRPr sz="1400"/>
              </a:lvl6pPr>
              <a:lvl7pPr marL="720000" lvl="6" indent="-180000">
                <a:lnSpc>
                  <a:spcPct val="114000"/>
                </a:lnSpc>
                <a:spcBef>
                  <a:spcPts val="250"/>
                </a:spcBef>
                <a:spcAft>
                  <a:spcPts val="250"/>
                </a:spcAft>
                <a:buFont typeface="Symbol" panose="05050102010706020507" pitchFamily="18" charset="2"/>
                <a:buChar char="-"/>
                <a:defRPr sz="1400"/>
              </a:lvl7pPr>
              <a:lvl8pPr marL="720000" lvl="7" indent="-180000">
                <a:lnSpc>
                  <a:spcPct val="114000"/>
                </a:lnSpc>
                <a:spcBef>
                  <a:spcPts val="250"/>
                </a:spcBef>
                <a:spcAft>
                  <a:spcPts val="250"/>
                </a:spcAft>
                <a:buFont typeface="Symbol" panose="05050102010706020507" pitchFamily="18" charset="2"/>
                <a:buChar char="-"/>
                <a:defRPr sz="1400"/>
              </a:lvl8pPr>
              <a:lvl9pPr marL="720000" lvl="8" indent="-180000">
                <a:lnSpc>
                  <a:spcPct val="114000"/>
                </a:lnSpc>
                <a:spcBef>
                  <a:spcPts val="250"/>
                </a:spcBef>
                <a:spcAft>
                  <a:spcPts val="250"/>
                </a:spcAft>
                <a:buFont typeface="Symbol" panose="05050102010706020507" pitchFamily="18" charset="2"/>
                <a:buChar char="-"/>
                <a:defRPr sz="1400"/>
              </a:lvl9pPr>
            </a:lstStyle>
            <a:p>
              <a:pPr lvl="1" indent="-180000"/>
              <a:r>
                <a:rPr lang="de-DE" sz="1600" b="1" err="1">
                  <a:solidFill>
                    <a:schemeClr val="accent3"/>
                  </a:solidFill>
                </a:rPr>
                <a:t>Employees</a:t>
              </a:r>
              <a:endParaRPr lang="de-DE" sz="1600" b="1">
                <a:solidFill>
                  <a:schemeClr val="accent3"/>
                </a:solidFill>
              </a:endParaRPr>
            </a:p>
          </p:txBody>
        </p:sp>
        <p:sp>
          <p:nvSpPr>
            <p:cNvPr id="44" name="Textfeld 62">
              <a:extLst>
                <a:ext uri="{FF2B5EF4-FFF2-40B4-BE49-F238E27FC236}">
                  <a16:creationId xmlns:a16="http://schemas.microsoft.com/office/drawing/2014/main" id="{4F123068-D4B3-4730-80FF-B92195542512}"/>
                </a:ext>
              </a:extLst>
            </p:cNvPr>
            <p:cNvSpPr txBox="1"/>
            <p:nvPr>
              <p:custDataLst>
                <p:tags r:id="rId8"/>
              </p:custDataLst>
            </p:nvPr>
          </p:nvSpPr>
          <p:spPr bwMode="gray">
            <a:xfrm>
              <a:off x="4665579" y="2445644"/>
              <a:ext cx="2752031" cy="634909"/>
            </a:xfrm>
            <a:prstGeom prst="rect">
              <a:avLst/>
            </a:prstGeom>
            <a:noFill/>
            <a:ln>
              <a:noFill/>
            </a:ln>
          </p:spPr>
          <p:txBody>
            <a:bodyPr wrap="square" lIns="144000" tIns="144000" rIns="144000" bIns="0" rtlCol="0" anchor="ctr">
              <a:noAutofit/>
            </a:bodyPr>
            <a:lstStyle/>
            <a:p>
              <a:pPr fontAlgn="base">
                <a:spcBef>
                  <a:spcPts val="300"/>
                </a:spcBef>
                <a:spcAft>
                  <a:spcPct val="0"/>
                </a:spcAft>
                <a:buClr>
                  <a:srgbClr val="000000"/>
                </a:buClr>
                <a:tabLst>
                  <a:tab pos="4124325" algn="l"/>
                </a:tabLst>
              </a:pPr>
              <a:r>
                <a:rPr lang="de-DE" sz="2800" b="1">
                  <a:solidFill>
                    <a:schemeClr val="accent1"/>
                  </a:solidFill>
                  <a:latin typeface="+mj-lt"/>
                </a:rPr>
                <a:t>&gt; 5,400</a:t>
              </a:r>
              <a:endParaRPr lang="de-DE" sz="2000" b="1">
                <a:solidFill>
                  <a:schemeClr val="accent1"/>
                </a:solidFill>
                <a:latin typeface="+mj-lt"/>
              </a:endParaRPr>
            </a:p>
          </p:txBody>
        </p:sp>
      </p:grpSp>
      <p:grpSp>
        <p:nvGrpSpPr>
          <p:cNvPr id="46" name="Gruppieren 45">
            <a:extLst>
              <a:ext uri="{FF2B5EF4-FFF2-40B4-BE49-F238E27FC236}">
                <a16:creationId xmlns:a16="http://schemas.microsoft.com/office/drawing/2014/main" id="{9CB8A303-9B8F-472D-A9AC-1235D7B7E1BA}"/>
              </a:ext>
            </a:extLst>
          </p:cNvPr>
          <p:cNvGrpSpPr/>
          <p:nvPr/>
        </p:nvGrpSpPr>
        <p:grpSpPr bwMode="gray">
          <a:xfrm>
            <a:off x="3193143" y="4835385"/>
            <a:ext cx="2708695" cy="1329919"/>
            <a:chOff x="4223465" y="1556740"/>
            <a:chExt cx="3287830" cy="2232932"/>
          </a:xfrm>
        </p:grpSpPr>
        <p:sp>
          <p:nvSpPr>
            <p:cNvPr id="47" name="Text Placeholder 1">
              <a:extLst>
                <a:ext uri="{FF2B5EF4-FFF2-40B4-BE49-F238E27FC236}">
                  <a16:creationId xmlns:a16="http://schemas.microsoft.com/office/drawing/2014/main" id="{BFE16EA3-F1F1-4BCB-A364-67420FB00E78}"/>
                </a:ext>
              </a:extLst>
            </p:cNvPr>
            <p:cNvSpPr txBox="1">
              <a:spLocks/>
            </p:cNvSpPr>
            <p:nvPr>
              <p:custDataLst>
                <p:tags r:id="rId5"/>
              </p:custDataLst>
            </p:nvPr>
          </p:nvSpPr>
          <p:spPr bwMode="gray">
            <a:xfrm>
              <a:off x="4223465" y="1556740"/>
              <a:ext cx="3287830" cy="2232932"/>
            </a:xfrm>
            <a:prstGeom prst="rect">
              <a:avLst/>
            </a:prstGeom>
            <a:noFill/>
            <a:ln w="6350">
              <a:solidFill>
                <a:schemeClr val="accent5"/>
              </a:solidFill>
            </a:ln>
          </p:spPr>
          <p:txBody>
            <a:bodyPr vert="horz" lIns="144000" tIns="144000" rIns="144000" bIns="0" rtlCol="0">
              <a:noAutofit/>
            </a:bodyPr>
            <a:lstStyle>
              <a:lvl1pPr lvl="0" indent="0">
                <a:lnSpc>
                  <a:spcPct val="114000"/>
                </a:lnSpc>
                <a:spcBef>
                  <a:spcPts val="1500"/>
                </a:spcBef>
                <a:spcAft>
                  <a:spcPts val="0"/>
                </a:spcAft>
                <a:buFont typeface="Arial" pitchFamily="34" charset="0"/>
                <a:buNone/>
                <a:defRPr sz="1400" b="0">
                  <a:latin typeface="+mj-lt"/>
                </a:defRPr>
              </a:lvl1pPr>
              <a:lvl2pPr marL="0" lvl="1" indent="0">
                <a:lnSpc>
                  <a:spcPct val="114000"/>
                </a:lnSpc>
                <a:spcBef>
                  <a:spcPts val="500"/>
                </a:spcBef>
                <a:spcAft>
                  <a:spcPts val="500"/>
                </a:spcAft>
                <a:buFont typeface="Arial" pitchFamily="34" charset="0"/>
                <a:buNone/>
                <a:defRPr sz="1400"/>
              </a:lvl2pPr>
              <a:lvl3pPr marL="180000" lvl="2" indent="-180000">
                <a:lnSpc>
                  <a:spcPct val="114000"/>
                </a:lnSpc>
                <a:spcBef>
                  <a:spcPts val="500"/>
                </a:spcBef>
                <a:spcAft>
                  <a:spcPts val="250"/>
                </a:spcAft>
                <a:buFont typeface="Arial" pitchFamily="34" charset="0"/>
                <a:buChar char="•"/>
                <a:defRPr sz="1400"/>
              </a:lvl3pPr>
              <a:lvl4pPr marL="360000" lvl="3" indent="-180000">
                <a:lnSpc>
                  <a:spcPct val="114000"/>
                </a:lnSpc>
                <a:spcBef>
                  <a:spcPts val="250"/>
                </a:spcBef>
                <a:spcAft>
                  <a:spcPts val="250"/>
                </a:spcAft>
                <a:buFont typeface="Symbol" panose="05050102010706020507" pitchFamily="18" charset="2"/>
                <a:buChar char="-"/>
                <a:defRPr sz="1400"/>
              </a:lvl4pPr>
              <a:lvl5pPr marL="540000" lvl="4" indent="-180000">
                <a:lnSpc>
                  <a:spcPct val="114000"/>
                </a:lnSpc>
                <a:spcBef>
                  <a:spcPts val="250"/>
                </a:spcBef>
                <a:spcAft>
                  <a:spcPts val="250"/>
                </a:spcAft>
                <a:buFont typeface="Symbol" panose="05050102010706020507" pitchFamily="18" charset="2"/>
                <a:buChar char=""/>
                <a:defRPr sz="1400"/>
              </a:lvl5pPr>
              <a:lvl6pPr marL="720000" lvl="5" indent="-180000">
                <a:lnSpc>
                  <a:spcPct val="114000"/>
                </a:lnSpc>
                <a:spcBef>
                  <a:spcPts val="250"/>
                </a:spcBef>
                <a:spcAft>
                  <a:spcPts val="250"/>
                </a:spcAft>
                <a:buFont typeface="Symbol" panose="05050102010706020507" pitchFamily="18" charset="2"/>
                <a:buChar char="-"/>
                <a:defRPr sz="1400"/>
              </a:lvl6pPr>
              <a:lvl7pPr marL="720000" lvl="6" indent="-180000">
                <a:lnSpc>
                  <a:spcPct val="114000"/>
                </a:lnSpc>
                <a:spcBef>
                  <a:spcPts val="250"/>
                </a:spcBef>
                <a:spcAft>
                  <a:spcPts val="250"/>
                </a:spcAft>
                <a:buFont typeface="Symbol" panose="05050102010706020507" pitchFamily="18" charset="2"/>
                <a:buChar char="-"/>
                <a:defRPr sz="1400"/>
              </a:lvl7pPr>
              <a:lvl8pPr marL="720000" lvl="7" indent="-180000">
                <a:lnSpc>
                  <a:spcPct val="114000"/>
                </a:lnSpc>
                <a:spcBef>
                  <a:spcPts val="250"/>
                </a:spcBef>
                <a:spcAft>
                  <a:spcPts val="250"/>
                </a:spcAft>
                <a:buFont typeface="Symbol" panose="05050102010706020507" pitchFamily="18" charset="2"/>
                <a:buChar char="-"/>
                <a:defRPr sz="1400"/>
              </a:lvl8pPr>
              <a:lvl9pPr marL="720000" lvl="8" indent="-180000">
                <a:lnSpc>
                  <a:spcPct val="114000"/>
                </a:lnSpc>
                <a:spcBef>
                  <a:spcPts val="250"/>
                </a:spcBef>
                <a:spcAft>
                  <a:spcPts val="250"/>
                </a:spcAft>
                <a:buFont typeface="Symbol" panose="05050102010706020507" pitchFamily="18" charset="2"/>
                <a:buChar char="-"/>
                <a:defRPr sz="1400"/>
              </a:lvl9pPr>
            </a:lstStyle>
            <a:p>
              <a:pPr marL="540000" lvl="5" indent="0" algn="r">
                <a:buNone/>
              </a:pPr>
              <a:r>
                <a:rPr lang="de-DE" sz="1600" b="1" err="1">
                  <a:solidFill>
                    <a:schemeClr val="accent3"/>
                  </a:solidFill>
                  <a:latin typeface="+mn-lt"/>
                </a:rPr>
                <a:t>Globally</a:t>
              </a:r>
              <a:r>
                <a:rPr lang="de-DE" sz="1600" b="1">
                  <a:solidFill>
                    <a:schemeClr val="accent3"/>
                  </a:solidFill>
                  <a:latin typeface="+mn-lt"/>
                </a:rPr>
                <a:t> </a:t>
              </a:r>
              <a:r>
                <a:rPr lang="de-DE" sz="1600" b="1" err="1">
                  <a:solidFill>
                    <a:schemeClr val="accent3"/>
                  </a:solidFill>
                  <a:latin typeface="+mn-lt"/>
                </a:rPr>
                <a:t>active</a:t>
              </a:r>
              <a:r>
                <a:rPr lang="de-DE" sz="1600" b="1">
                  <a:solidFill>
                    <a:schemeClr val="accent1"/>
                  </a:solidFill>
                </a:rPr>
                <a:t>		</a:t>
              </a:r>
              <a:r>
                <a:rPr lang="de-DE" sz="1600">
                  <a:solidFill>
                    <a:schemeClr val="tx1"/>
                  </a:solidFill>
                </a:rPr>
                <a:t> </a:t>
              </a:r>
            </a:p>
          </p:txBody>
        </p:sp>
        <p:sp>
          <p:nvSpPr>
            <p:cNvPr id="48" name="Textfeld 62">
              <a:extLst>
                <a:ext uri="{FF2B5EF4-FFF2-40B4-BE49-F238E27FC236}">
                  <a16:creationId xmlns:a16="http://schemas.microsoft.com/office/drawing/2014/main" id="{FDBBCE50-1316-455F-8E9B-61C72D4FD761}"/>
                </a:ext>
              </a:extLst>
            </p:cNvPr>
            <p:cNvSpPr txBox="1"/>
            <p:nvPr>
              <p:custDataLst>
                <p:tags r:id="rId6"/>
              </p:custDataLst>
            </p:nvPr>
          </p:nvSpPr>
          <p:spPr bwMode="gray">
            <a:xfrm>
              <a:off x="4837849" y="2386530"/>
              <a:ext cx="2609011" cy="634909"/>
            </a:xfrm>
            <a:prstGeom prst="rect">
              <a:avLst/>
            </a:prstGeom>
            <a:noFill/>
            <a:ln>
              <a:noFill/>
            </a:ln>
          </p:spPr>
          <p:txBody>
            <a:bodyPr wrap="square" lIns="144000" tIns="144000" rIns="144000" bIns="0" rtlCol="0" anchor="ctr">
              <a:noAutofit/>
            </a:bodyPr>
            <a:lstStyle/>
            <a:p>
              <a:pPr algn="r" fontAlgn="base">
                <a:spcBef>
                  <a:spcPts val="300"/>
                </a:spcBef>
                <a:spcAft>
                  <a:spcPct val="0"/>
                </a:spcAft>
                <a:buClr>
                  <a:srgbClr val="000000"/>
                </a:buClr>
                <a:tabLst>
                  <a:tab pos="4124325" algn="l"/>
                </a:tabLst>
              </a:pPr>
              <a:r>
                <a:rPr lang="de-DE" sz="2800" b="1">
                  <a:solidFill>
                    <a:schemeClr val="accent1"/>
                  </a:solidFill>
                  <a:latin typeface="+mj-lt"/>
                </a:rPr>
                <a:t>34</a:t>
              </a:r>
              <a:br>
                <a:rPr lang="de-DE" sz="5400" b="1">
                  <a:solidFill>
                    <a:schemeClr val="accent1"/>
                  </a:solidFill>
                  <a:latin typeface="+mj-lt"/>
                </a:rPr>
              </a:br>
              <a:r>
                <a:rPr lang="de-DE" sz="1400" b="1">
                  <a:solidFill>
                    <a:schemeClr val="accent3"/>
                  </a:solidFill>
                  <a:latin typeface="+mj-lt"/>
                </a:rPr>
                <a:t>countries</a:t>
              </a:r>
            </a:p>
          </p:txBody>
        </p:sp>
      </p:grpSp>
      <p:sp>
        <p:nvSpPr>
          <p:cNvPr id="50" name="Rechteck 49">
            <a:extLst>
              <a:ext uri="{FF2B5EF4-FFF2-40B4-BE49-F238E27FC236}">
                <a16:creationId xmlns:a16="http://schemas.microsoft.com/office/drawing/2014/main" id="{C6B94986-0CBE-4C75-BDF5-B2006F251190}"/>
              </a:ext>
            </a:extLst>
          </p:cNvPr>
          <p:cNvSpPr/>
          <p:nvPr/>
        </p:nvSpPr>
        <p:spPr>
          <a:xfrm>
            <a:off x="2665381" y="5078793"/>
            <a:ext cx="988639" cy="916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err="1"/>
          </a:p>
        </p:txBody>
      </p:sp>
      <p:sp>
        <p:nvSpPr>
          <p:cNvPr id="11" name="Rechteck 10">
            <a:extLst>
              <a:ext uri="{FF2B5EF4-FFF2-40B4-BE49-F238E27FC236}">
                <a16:creationId xmlns:a16="http://schemas.microsoft.com/office/drawing/2014/main" id="{2B6A1F5F-C108-445B-87B3-3D7EBFA65EFC}"/>
              </a:ext>
            </a:extLst>
          </p:cNvPr>
          <p:cNvSpPr/>
          <p:nvPr/>
        </p:nvSpPr>
        <p:spPr>
          <a:xfrm>
            <a:off x="2665380" y="3602819"/>
            <a:ext cx="988640" cy="990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err="1"/>
          </a:p>
        </p:txBody>
      </p:sp>
      <p:graphicFrame>
        <p:nvGraphicFramePr>
          <p:cNvPr id="6" name="Objekt 5" hidden="1">
            <a:extLst>
              <a:ext uri="{FF2B5EF4-FFF2-40B4-BE49-F238E27FC236}">
                <a16:creationId xmlns:a16="http://schemas.microsoft.com/office/drawing/2014/main" id="{E888C441-2CD4-4BF7-8A6A-47B91F1C8D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27" imgH="327" progId="TCLayout.ActiveDocument.1">
                  <p:embed/>
                </p:oleObj>
              </mc:Choice>
              <mc:Fallback>
                <p:oleObj name="think-cell Folie" r:id="rId17" imgW="327" imgH="327" progId="TCLayout.ActiveDocument.1">
                  <p:embed/>
                  <p:pic>
                    <p:nvPicPr>
                      <p:cNvPr id="6" name="Objekt 5" hidden="1">
                        <a:extLst>
                          <a:ext uri="{FF2B5EF4-FFF2-40B4-BE49-F238E27FC236}">
                            <a16:creationId xmlns:a16="http://schemas.microsoft.com/office/drawing/2014/main" id="{E888C441-2CD4-4BF7-8A6A-47B91F1C8D1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a:t>BayWa r.e. Facts and </a:t>
            </a:r>
            <a:r>
              <a:rPr lang="de-DE" err="1"/>
              <a:t>Figures</a:t>
            </a:r>
            <a:endParaRPr lang="de-DE"/>
          </a:p>
        </p:txBody>
      </p:sp>
      <p:sp>
        <p:nvSpPr>
          <p:cNvPr id="7" name="Textplatzhalter 6">
            <a:extLst>
              <a:ext uri="{FF2B5EF4-FFF2-40B4-BE49-F238E27FC236}">
                <a16:creationId xmlns:a16="http://schemas.microsoft.com/office/drawing/2014/main" id="{C70008E8-F221-4D54-ADEB-B4DC6382B469}"/>
              </a:ext>
            </a:extLst>
          </p:cNvPr>
          <p:cNvSpPr>
            <a:spLocks noGrp="1"/>
          </p:cNvSpPr>
          <p:nvPr>
            <p:ph type="body" sz="quarter" idx="39"/>
          </p:nvPr>
        </p:nvSpPr>
        <p:spPr/>
        <p:txBody>
          <a:bodyPr/>
          <a:lstStyle/>
          <a:p>
            <a:endParaRPr lang="de-DE"/>
          </a:p>
        </p:txBody>
      </p:sp>
      <p:sp>
        <p:nvSpPr>
          <p:cNvPr id="8" name="Textplatzhalter 7">
            <a:extLst>
              <a:ext uri="{FF2B5EF4-FFF2-40B4-BE49-F238E27FC236}">
                <a16:creationId xmlns:a16="http://schemas.microsoft.com/office/drawing/2014/main" id="{82849497-41DD-467B-B701-C0AEC1F46718}"/>
              </a:ext>
            </a:extLst>
          </p:cNvPr>
          <p:cNvSpPr>
            <a:spLocks noGrp="1"/>
          </p:cNvSpPr>
          <p:nvPr>
            <p:ph type="body" sz="quarter" idx="40"/>
          </p:nvPr>
        </p:nvSpPr>
        <p:spPr/>
        <p:txBody>
          <a:bodyPr/>
          <a:lstStyle/>
          <a:p>
            <a:endParaRPr lang="de-DE"/>
          </a:p>
        </p:txBody>
      </p:sp>
      <p:sp>
        <p:nvSpPr>
          <p:cNvPr id="9" name="Textplatzhalter 8">
            <a:extLst>
              <a:ext uri="{FF2B5EF4-FFF2-40B4-BE49-F238E27FC236}">
                <a16:creationId xmlns:a16="http://schemas.microsoft.com/office/drawing/2014/main" id="{92BA321E-34BF-4AD3-8496-89D2AF3762EF}"/>
              </a:ext>
            </a:extLst>
          </p:cNvPr>
          <p:cNvSpPr>
            <a:spLocks noGrp="1"/>
          </p:cNvSpPr>
          <p:nvPr>
            <p:ph type="body" sz="quarter" idx="41"/>
          </p:nvPr>
        </p:nvSpPr>
        <p:spPr/>
        <p:txBody>
          <a:bodyPr/>
          <a:lstStyle/>
          <a:p>
            <a:endParaRPr lang="de-DE"/>
          </a:p>
        </p:txBody>
      </p:sp>
      <p:sp>
        <p:nvSpPr>
          <p:cNvPr id="10" name="Textplatzhalter 9">
            <a:extLst>
              <a:ext uri="{FF2B5EF4-FFF2-40B4-BE49-F238E27FC236}">
                <a16:creationId xmlns:a16="http://schemas.microsoft.com/office/drawing/2014/main" id="{1E6C7A51-3A0F-4253-BE6F-E0AF3CF58C29}"/>
              </a:ext>
            </a:extLst>
          </p:cNvPr>
          <p:cNvSpPr>
            <a:spLocks noGrp="1"/>
          </p:cNvSpPr>
          <p:nvPr>
            <p:ph type="body" sz="quarter" idx="42"/>
          </p:nvPr>
        </p:nvSpPr>
        <p:spPr/>
        <p:txBody>
          <a:bodyPr/>
          <a:lstStyle/>
          <a:p>
            <a:endParaRPr lang="de-DE"/>
          </a:p>
        </p:txBody>
      </p:sp>
      <p:pic>
        <p:nvPicPr>
          <p:cNvPr id="55" name="Picture 35">
            <a:extLst>
              <a:ext uri="{FF2B5EF4-FFF2-40B4-BE49-F238E27FC236}">
                <a16:creationId xmlns:a16="http://schemas.microsoft.com/office/drawing/2014/main" id="{7A5113AC-9D78-4338-B86C-B35A11FA560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bwMode="gray">
          <a:xfrm>
            <a:off x="2874697" y="5200578"/>
            <a:ext cx="586571" cy="586571"/>
          </a:xfrm>
          <a:prstGeom prst="rect">
            <a:avLst/>
          </a:prstGeom>
          <a:solidFill>
            <a:schemeClr val="bg1"/>
          </a:solidFill>
        </p:spPr>
      </p:pic>
      <p:pic>
        <p:nvPicPr>
          <p:cNvPr id="58" name="Picture 49" descr="A close up of a sign&#10;&#10;Description automatically generated">
            <a:extLst>
              <a:ext uri="{FF2B5EF4-FFF2-40B4-BE49-F238E27FC236}">
                <a16:creationId xmlns:a16="http://schemas.microsoft.com/office/drawing/2014/main" id="{6766551C-0B7A-449F-B452-CECA66085FDE}"/>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2872550" y="3783518"/>
            <a:ext cx="585074" cy="585074"/>
          </a:xfrm>
          <a:prstGeom prst="rect">
            <a:avLst/>
          </a:prstGeom>
          <a:solidFill>
            <a:schemeClr val="bg1"/>
          </a:solidFill>
        </p:spPr>
      </p:pic>
      <p:sp>
        <p:nvSpPr>
          <p:cNvPr id="62" name="Text Placeholder 1">
            <a:extLst>
              <a:ext uri="{FF2B5EF4-FFF2-40B4-BE49-F238E27FC236}">
                <a16:creationId xmlns:a16="http://schemas.microsoft.com/office/drawing/2014/main" id="{42CF9428-12D6-481D-B8DE-2F0FB57E84A9}"/>
              </a:ext>
            </a:extLst>
          </p:cNvPr>
          <p:cNvSpPr txBox="1">
            <a:spLocks/>
          </p:cNvSpPr>
          <p:nvPr>
            <p:custDataLst>
              <p:tags r:id="rId3"/>
            </p:custDataLst>
          </p:nvPr>
        </p:nvSpPr>
        <p:spPr bwMode="gray">
          <a:xfrm>
            <a:off x="3200941" y="2833367"/>
            <a:ext cx="2708694" cy="51974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lIns="144000" tIns="0" rIns="144000" bIns="0" rtlCol="0">
            <a:noAutofit/>
          </a:bodyPr>
          <a:lstStyle>
            <a:lvl1pPr lvl="0" indent="0">
              <a:lnSpc>
                <a:spcPct val="114000"/>
              </a:lnSpc>
              <a:spcBef>
                <a:spcPts val="1500"/>
              </a:spcBef>
              <a:spcAft>
                <a:spcPts val="0"/>
              </a:spcAft>
              <a:buFont typeface="Arial" pitchFamily="34" charset="0"/>
              <a:buNone/>
              <a:defRPr sz="1400" b="0">
                <a:latin typeface="+mj-lt"/>
              </a:defRPr>
            </a:lvl1pPr>
            <a:lvl2pPr marL="0" lvl="1" indent="0">
              <a:lnSpc>
                <a:spcPct val="114000"/>
              </a:lnSpc>
              <a:spcBef>
                <a:spcPts val="500"/>
              </a:spcBef>
              <a:spcAft>
                <a:spcPts val="500"/>
              </a:spcAft>
              <a:buFont typeface="Arial" pitchFamily="34" charset="0"/>
              <a:buNone/>
              <a:defRPr sz="1400"/>
            </a:lvl2pPr>
            <a:lvl3pPr marL="180000" lvl="2" indent="-180000">
              <a:lnSpc>
                <a:spcPct val="114000"/>
              </a:lnSpc>
              <a:spcBef>
                <a:spcPts val="500"/>
              </a:spcBef>
              <a:spcAft>
                <a:spcPts val="250"/>
              </a:spcAft>
              <a:buFont typeface="Arial" pitchFamily="34" charset="0"/>
              <a:buChar char="•"/>
              <a:defRPr sz="1400"/>
            </a:lvl3pPr>
            <a:lvl4pPr marL="360000" lvl="3" indent="-180000">
              <a:lnSpc>
                <a:spcPct val="114000"/>
              </a:lnSpc>
              <a:spcBef>
                <a:spcPts val="250"/>
              </a:spcBef>
              <a:spcAft>
                <a:spcPts val="250"/>
              </a:spcAft>
              <a:buFont typeface="Symbol" panose="05050102010706020507" pitchFamily="18" charset="2"/>
              <a:buChar char="-"/>
              <a:defRPr sz="1400"/>
            </a:lvl4pPr>
            <a:lvl5pPr marL="540000" lvl="4" indent="-180000">
              <a:lnSpc>
                <a:spcPct val="114000"/>
              </a:lnSpc>
              <a:spcBef>
                <a:spcPts val="250"/>
              </a:spcBef>
              <a:spcAft>
                <a:spcPts val="250"/>
              </a:spcAft>
              <a:buFont typeface="Symbol" panose="05050102010706020507" pitchFamily="18" charset="2"/>
              <a:buChar char=""/>
              <a:defRPr sz="1400"/>
            </a:lvl5pPr>
            <a:lvl6pPr marL="720000" lvl="5" indent="-180000">
              <a:lnSpc>
                <a:spcPct val="114000"/>
              </a:lnSpc>
              <a:spcBef>
                <a:spcPts val="250"/>
              </a:spcBef>
              <a:spcAft>
                <a:spcPts val="250"/>
              </a:spcAft>
              <a:buFont typeface="Symbol" panose="05050102010706020507" pitchFamily="18" charset="2"/>
              <a:buChar char="-"/>
              <a:defRPr sz="1400"/>
            </a:lvl6pPr>
            <a:lvl7pPr marL="720000" lvl="6" indent="-180000">
              <a:lnSpc>
                <a:spcPct val="114000"/>
              </a:lnSpc>
              <a:spcBef>
                <a:spcPts val="250"/>
              </a:spcBef>
              <a:spcAft>
                <a:spcPts val="250"/>
              </a:spcAft>
              <a:buFont typeface="Symbol" panose="05050102010706020507" pitchFamily="18" charset="2"/>
              <a:buChar char="-"/>
              <a:defRPr sz="1400"/>
            </a:lvl7pPr>
            <a:lvl8pPr marL="720000" lvl="7" indent="-180000">
              <a:lnSpc>
                <a:spcPct val="114000"/>
              </a:lnSpc>
              <a:spcBef>
                <a:spcPts val="250"/>
              </a:spcBef>
              <a:spcAft>
                <a:spcPts val="250"/>
              </a:spcAft>
              <a:buFont typeface="Symbol" panose="05050102010706020507" pitchFamily="18" charset="2"/>
              <a:buChar char="-"/>
              <a:defRPr sz="1400"/>
            </a:lvl8pPr>
            <a:lvl9pPr marL="720000" lvl="8" indent="-180000">
              <a:lnSpc>
                <a:spcPct val="114000"/>
              </a:lnSpc>
              <a:spcBef>
                <a:spcPts val="250"/>
              </a:spcBef>
              <a:spcAft>
                <a:spcPts val="250"/>
              </a:spcAft>
              <a:buFont typeface="Symbol" panose="05050102010706020507" pitchFamily="18" charset="2"/>
              <a:buChar char="-"/>
              <a:defRPr sz="1400"/>
            </a:lvl9pPr>
          </a:lstStyle>
          <a:p>
            <a:pPr algn="r">
              <a:lnSpc>
                <a:spcPct val="100000"/>
              </a:lnSpc>
            </a:pPr>
            <a:r>
              <a:rPr lang="de-DE" sz="2800" b="1">
                <a:solidFill>
                  <a:schemeClr val="accent1"/>
                </a:solidFill>
              </a:rPr>
              <a:t>2009</a:t>
            </a:r>
            <a:endParaRPr lang="de-DE" sz="4000" b="1">
              <a:solidFill>
                <a:schemeClr val="accent1"/>
              </a:solidFill>
            </a:endParaRPr>
          </a:p>
        </p:txBody>
      </p:sp>
      <p:sp>
        <p:nvSpPr>
          <p:cNvPr id="63" name="Textplatzhalter 60">
            <a:extLst>
              <a:ext uri="{FF2B5EF4-FFF2-40B4-BE49-F238E27FC236}">
                <a16:creationId xmlns:a16="http://schemas.microsoft.com/office/drawing/2014/main" id="{869133DD-3561-46B5-912B-84938AE74624}"/>
              </a:ext>
            </a:extLst>
          </p:cNvPr>
          <p:cNvSpPr txBox="1">
            <a:spLocks/>
          </p:cNvSpPr>
          <p:nvPr>
            <p:custDataLst>
              <p:tags r:id="rId4"/>
            </p:custDataLst>
          </p:nvPr>
        </p:nvSpPr>
        <p:spPr bwMode="gray">
          <a:xfrm>
            <a:off x="404869" y="1260991"/>
            <a:ext cx="5496969" cy="1225220"/>
          </a:xfrm>
          <a:prstGeom prst="roundRect">
            <a:avLst>
              <a:gd name="adj" fmla="val 5880"/>
            </a:avLst>
          </a:prstGeom>
          <a:solidFill>
            <a:schemeClr val="accent1"/>
          </a:solidFill>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algn="ctr"/>
            <a:r>
              <a:rPr lang="en-GB" sz="1800" b="0" i="0" dirty="0">
                <a:solidFill>
                  <a:schemeClr val="bg1"/>
                </a:solidFill>
                <a:effectLst/>
                <a:latin typeface="Arial" panose="020B0604020202020204" pitchFamily="34" charset="0"/>
              </a:rPr>
              <a:t>BayWa </a:t>
            </a:r>
            <a:r>
              <a:rPr lang="en-GB" sz="1800" b="0" i="0" dirty="0" err="1">
                <a:solidFill>
                  <a:schemeClr val="bg1"/>
                </a:solidFill>
                <a:effectLst/>
                <a:latin typeface="Arial" panose="020B0604020202020204" pitchFamily="34" charset="0"/>
              </a:rPr>
              <a:t>r.e</a:t>
            </a:r>
            <a:r>
              <a:rPr lang="en-GB" sz="1800" b="0" i="0" dirty="0">
                <a:solidFill>
                  <a:schemeClr val="bg1"/>
                </a:solidFill>
                <a:effectLst/>
                <a:latin typeface="Arial" panose="020B0604020202020204" pitchFamily="34" charset="0"/>
              </a:rPr>
              <a:t>. is a leading global renewable energy developer, service provider, distributor, and energy solutions provider.</a:t>
            </a:r>
            <a:endParaRPr lang="en-US" sz="2000" dirty="0">
              <a:solidFill>
                <a:schemeClr val="bg1"/>
              </a:solidFill>
              <a:latin typeface="Arial" panose="020B0604020202020204" pitchFamily="34" charset="0"/>
            </a:endParaRPr>
          </a:p>
        </p:txBody>
      </p:sp>
    </p:spTree>
    <p:extLst>
      <p:ext uri="{BB962C8B-B14F-4D97-AF65-F5344CB8AC3E}">
        <p14:creationId xmlns:p14="http://schemas.microsoft.com/office/powerpoint/2010/main" val="256524169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AAF6FA0-A4F0-4F54-A0EC-D7ED25A74D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3" name="Objekt 2" hidden="1">
                        <a:extLst>
                          <a:ext uri="{FF2B5EF4-FFF2-40B4-BE49-F238E27FC236}">
                            <a16:creationId xmlns:a16="http://schemas.microsoft.com/office/drawing/2014/main" id="{DAAF6FA0-A4F0-4F54-A0EC-D7ED25A74D7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42AD62E-471B-4AF6-A957-1530E1C3534A}"/>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100" b="1">
              <a:latin typeface="Arial" panose="020B0604020202020204" pitchFamily="34" charset="0"/>
              <a:ea typeface="+mj-ea"/>
              <a:cs typeface="+mj-cs"/>
              <a:sym typeface="Arial" panose="020B0604020202020204" pitchFamily="34" charset="0"/>
            </a:endParaRPr>
          </a:p>
        </p:txBody>
      </p:sp>
      <p:sp>
        <p:nvSpPr>
          <p:cNvPr id="9" name="Titel 8">
            <a:extLst>
              <a:ext uri="{FF2B5EF4-FFF2-40B4-BE49-F238E27FC236}">
                <a16:creationId xmlns:a16="http://schemas.microsoft.com/office/drawing/2014/main" id="{F545A66B-3BEC-47A2-996D-BCD1704B03A7}"/>
              </a:ext>
            </a:extLst>
          </p:cNvPr>
          <p:cNvSpPr>
            <a:spLocks noGrp="1"/>
          </p:cNvSpPr>
          <p:nvPr>
            <p:ph type="title"/>
          </p:nvPr>
        </p:nvSpPr>
        <p:spPr bwMode="gray"/>
        <p:txBody>
          <a:bodyPr vert="horz"/>
          <a:lstStyle/>
          <a:p>
            <a:r>
              <a:rPr lang="en-GB"/>
              <a:t>Our portfolio covers a broad range of renewable energies</a:t>
            </a:r>
          </a:p>
        </p:txBody>
      </p:sp>
      <p:pic>
        <p:nvPicPr>
          <p:cNvPr id="33" name="Bildplatzhalter 32" descr="Ein Bild, das Himmel, Gras, Solarzelle, draußen enthält.&#10;&#10;Automatisch generierte Beschreibung">
            <a:extLst>
              <a:ext uri="{FF2B5EF4-FFF2-40B4-BE49-F238E27FC236}">
                <a16:creationId xmlns:a16="http://schemas.microsoft.com/office/drawing/2014/main" id="{C7628EB8-B364-4084-B7A5-02B995D00724}"/>
              </a:ext>
            </a:extLst>
          </p:cNvPr>
          <p:cNvPicPr>
            <a:picLocks noGrp="1" noChangeAspect="1"/>
          </p:cNvPicPr>
          <p:nvPr>
            <p:ph type="pic" sz="quarter" idx="10"/>
          </p:nvPr>
        </p:nvPicPr>
        <p:blipFill>
          <a:blip r:embed="rId12" cstate="hqprint">
            <a:extLst>
              <a:ext uri="{28A0092B-C50C-407E-A947-70E740481C1C}">
                <a14:useLocalDpi xmlns:a14="http://schemas.microsoft.com/office/drawing/2010/main"/>
              </a:ext>
            </a:extLst>
          </a:blip>
          <a:srcRect/>
          <a:stretch>
            <a:fillRect/>
          </a:stretch>
        </p:blipFill>
        <p:spPr bwMode="gray">
          <a:xfrm>
            <a:off x="407368" y="1555183"/>
            <a:ext cx="3528000" cy="2520000"/>
          </a:xfrm>
        </p:spPr>
      </p:pic>
      <p:sp>
        <p:nvSpPr>
          <p:cNvPr id="104" name="Textplatzhalter 103">
            <a:extLst>
              <a:ext uri="{FF2B5EF4-FFF2-40B4-BE49-F238E27FC236}">
                <a16:creationId xmlns:a16="http://schemas.microsoft.com/office/drawing/2014/main" id="{B3FC9479-5C16-4211-BB73-6E4279706EA0}"/>
              </a:ext>
            </a:extLst>
          </p:cNvPr>
          <p:cNvSpPr>
            <a:spLocks noGrp="1"/>
          </p:cNvSpPr>
          <p:nvPr>
            <p:ph type="body" sz="quarter" idx="17"/>
          </p:nvPr>
        </p:nvSpPr>
        <p:spPr bwMode="gray">
          <a:xfrm>
            <a:off x="407368" y="1557033"/>
            <a:ext cx="647389" cy="2520000"/>
          </a:xfrm>
        </p:spPr>
        <p:txBody>
          <a:bodyPr/>
          <a:lstStyle/>
          <a:p>
            <a:endParaRPr lang="en-GB"/>
          </a:p>
        </p:txBody>
      </p:sp>
      <p:sp>
        <p:nvSpPr>
          <p:cNvPr id="105" name="Textplatzhalter 104">
            <a:extLst>
              <a:ext uri="{FF2B5EF4-FFF2-40B4-BE49-F238E27FC236}">
                <a16:creationId xmlns:a16="http://schemas.microsoft.com/office/drawing/2014/main" id="{298E77B5-9AAB-46EA-987C-F5EFB2CDAB4C}"/>
              </a:ext>
            </a:extLst>
          </p:cNvPr>
          <p:cNvSpPr>
            <a:spLocks noGrp="1"/>
          </p:cNvSpPr>
          <p:nvPr>
            <p:ph type="body" sz="quarter" idx="25"/>
          </p:nvPr>
        </p:nvSpPr>
        <p:spPr bwMode="gray"/>
        <p:txBody>
          <a:bodyPr/>
          <a:lstStyle/>
          <a:p>
            <a:endParaRPr lang="en-GB"/>
          </a:p>
        </p:txBody>
      </p:sp>
      <p:sp>
        <p:nvSpPr>
          <p:cNvPr id="106" name="Textplatzhalter 105">
            <a:extLst>
              <a:ext uri="{FF2B5EF4-FFF2-40B4-BE49-F238E27FC236}">
                <a16:creationId xmlns:a16="http://schemas.microsoft.com/office/drawing/2014/main" id="{4DC1A9B2-6E0E-445F-AE75-D0C699A2ED12}"/>
              </a:ext>
            </a:extLst>
          </p:cNvPr>
          <p:cNvSpPr>
            <a:spLocks noGrp="1"/>
          </p:cNvSpPr>
          <p:nvPr>
            <p:ph type="body" sz="quarter" idx="26"/>
          </p:nvPr>
        </p:nvSpPr>
        <p:spPr bwMode="gray">
          <a:xfrm>
            <a:off x="1055680" y="1557033"/>
            <a:ext cx="360000" cy="2520000"/>
          </a:xfrm>
        </p:spPr>
        <p:txBody>
          <a:bodyPr/>
          <a:lstStyle/>
          <a:p>
            <a:endParaRPr lang="en-GB"/>
          </a:p>
        </p:txBody>
      </p:sp>
      <p:sp>
        <p:nvSpPr>
          <p:cNvPr id="15" name="Textplatzhalter 14">
            <a:extLst>
              <a:ext uri="{FF2B5EF4-FFF2-40B4-BE49-F238E27FC236}">
                <a16:creationId xmlns:a16="http://schemas.microsoft.com/office/drawing/2014/main" id="{67E539AC-2DD2-43B2-8D03-DA19E575EDC1}"/>
              </a:ext>
            </a:extLst>
          </p:cNvPr>
          <p:cNvSpPr>
            <a:spLocks noGrp="1"/>
          </p:cNvSpPr>
          <p:nvPr>
            <p:ph type="body" sz="quarter" idx="20"/>
            <p:custDataLst>
              <p:tags r:id="rId3"/>
            </p:custDataLst>
          </p:nvPr>
        </p:nvSpPr>
        <p:spPr bwMode="gray">
          <a:xfrm>
            <a:off x="407988" y="3509451"/>
            <a:ext cx="3528000" cy="567621"/>
          </a:xfrm>
        </p:spPr>
        <p:txBody>
          <a:bodyPr/>
          <a:lstStyle/>
          <a:p>
            <a:r>
              <a:rPr lang="en-GB"/>
              <a:t>Projects</a:t>
            </a:r>
          </a:p>
        </p:txBody>
      </p:sp>
      <p:pic>
        <p:nvPicPr>
          <p:cNvPr id="11" name="Bildplatzhalter 10">
            <a:extLst>
              <a:ext uri="{FF2B5EF4-FFF2-40B4-BE49-F238E27FC236}">
                <a16:creationId xmlns:a16="http://schemas.microsoft.com/office/drawing/2014/main" id="{A8F17171-D0A4-420F-9009-0006CAE5D00C}"/>
              </a:ext>
            </a:extLst>
          </p:cNvPr>
          <p:cNvPicPr>
            <a:picLocks noGrp="1" noChangeAspect="1"/>
          </p:cNvPicPr>
          <p:nvPr>
            <p:ph type="pic" sz="quarter" idx="27"/>
          </p:nvPr>
        </p:nvPicPr>
        <p:blipFill>
          <a:blip r:embed="rId13" cstate="hqprint">
            <a:extLst>
              <a:ext uri="{28A0092B-C50C-407E-A947-70E740481C1C}">
                <a14:useLocalDpi xmlns:a14="http://schemas.microsoft.com/office/drawing/2010/main"/>
              </a:ext>
            </a:extLst>
          </a:blip>
          <a:srcRect/>
          <a:stretch/>
        </p:blipFill>
        <p:spPr bwMode="gray">
          <a:xfrm flipH="1">
            <a:off x="4295392" y="1555183"/>
            <a:ext cx="3600816" cy="2513742"/>
          </a:xfrm>
        </p:spPr>
      </p:pic>
      <p:sp>
        <p:nvSpPr>
          <p:cNvPr id="107" name="Textplatzhalter 106">
            <a:extLst>
              <a:ext uri="{FF2B5EF4-FFF2-40B4-BE49-F238E27FC236}">
                <a16:creationId xmlns:a16="http://schemas.microsoft.com/office/drawing/2014/main" id="{1265C0EB-A3A4-4A77-8EC6-30260052904B}"/>
              </a:ext>
            </a:extLst>
          </p:cNvPr>
          <p:cNvSpPr>
            <a:spLocks noGrp="1"/>
          </p:cNvSpPr>
          <p:nvPr>
            <p:ph type="body" sz="quarter" idx="28"/>
          </p:nvPr>
        </p:nvSpPr>
        <p:spPr bwMode="gray">
          <a:xfrm>
            <a:off x="4296216" y="1557033"/>
            <a:ext cx="647389" cy="2520000"/>
          </a:xfrm>
        </p:spPr>
        <p:txBody>
          <a:bodyPr/>
          <a:lstStyle/>
          <a:p>
            <a:endParaRPr lang="en-GB"/>
          </a:p>
        </p:txBody>
      </p:sp>
      <p:sp>
        <p:nvSpPr>
          <p:cNvPr id="108" name="Textplatzhalter 107">
            <a:extLst>
              <a:ext uri="{FF2B5EF4-FFF2-40B4-BE49-F238E27FC236}">
                <a16:creationId xmlns:a16="http://schemas.microsoft.com/office/drawing/2014/main" id="{5BB10521-F2CD-47FF-90CA-9118EC4C39C4}"/>
              </a:ext>
            </a:extLst>
          </p:cNvPr>
          <p:cNvSpPr>
            <a:spLocks noGrp="1"/>
          </p:cNvSpPr>
          <p:nvPr>
            <p:ph type="body" sz="quarter" idx="29"/>
          </p:nvPr>
        </p:nvSpPr>
        <p:spPr bwMode="gray"/>
        <p:txBody>
          <a:bodyPr/>
          <a:lstStyle/>
          <a:p>
            <a:endParaRPr lang="en-GB"/>
          </a:p>
        </p:txBody>
      </p:sp>
      <p:sp>
        <p:nvSpPr>
          <p:cNvPr id="109" name="Textplatzhalter 108">
            <a:extLst>
              <a:ext uri="{FF2B5EF4-FFF2-40B4-BE49-F238E27FC236}">
                <a16:creationId xmlns:a16="http://schemas.microsoft.com/office/drawing/2014/main" id="{4AE4DEC0-F3FD-4724-A27E-4BFA9C44767A}"/>
              </a:ext>
            </a:extLst>
          </p:cNvPr>
          <p:cNvSpPr>
            <a:spLocks noGrp="1"/>
          </p:cNvSpPr>
          <p:nvPr>
            <p:ph type="body" sz="quarter" idx="30"/>
          </p:nvPr>
        </p:nvSpPr>
        <p:spPr bwMode="gray">
          <a:xfrm>
            <a:off x="4944528" y="1557033"/>
            <a:ext cx="360000" cy="2520000"/>
          </a:xfrm>
        </p:spPr>
        <p:txBody>
          <a:bodyPr/>
          <a:lstStyle/>
          <a:p>
            <a:endParaRPr lang="en-GB"/>
          </a:p>
        </p:txBody>
      </p:sp>
      <p:sp>
        <p:nvSpPr>
          <p:cNvPr id="22" name="Textplatzhalter 21">
            <a:extLst>
              <a:ext uri="{FF2B5EF4-FFF2-40B4-BE49-F238E27FC236}">
                <a16:creationId xmlns:a16="http://schemas.microsoft.com/office/drawing/2014/main" id="{83F8708E-1A65-455C-B9BA-198042193822}"/>
              </a:ext>
            </a:extLst>
          </p:cNvPr>
          <p:cNvSpPr>
            <a:spLocks noGrp="1"/>
          </p:cNvSpPr>
          <p:nvPr>
            <p:ph type="body" sz="quarter" idx="31"/>
          </p:nvPr>
        </p:nvSpPr>
        <p:spPr bwMode="gray">
          <a:xfrm>
            <a:off x="4296836" y="3509451"/>
            <a:ext cx="3600000" cy="567621"/>
          </a:xfrm>
        </p:spPr>
        <p:txBody>
          <a:bodyPr/>
          <a:lstStyle/>
          <a:p>
            <a:r>
              <a:rPr lang="en-GB"/>
              <a:t>Operations</a:t>
            </a:r>
          </a:p>
        </p:txBody>
      </p:sp>
      <p:pic>
        <p:nvPicPr>
          <p:cNvPr id="115" name="Bildplatzhalter 114" descr="Ein Bild, das Gras, draußen, Berg, sitzend enthält.&#10;&#10;Automatisch generierte Beschreibung">
            <a:extLst>
              <a:ext uri="{FF2B5EF4-FFF2-40B4-BE49-F238E27FC236}">
                <a16:creationId xmlns:a16="http://schemas.microsoft.com/office/drawing/2014/main" id="{4D8EE0EB-2A61-4210-8524-82FB52AD52D1}"/>
              </a:ext>
            </a:extLst>
          </p:cNvPr>
          <p:cNvPicPr>
            <a:picLocks noGrp="1" noChangeAspect="1"/>
          </p:cNvPicPr>
          <p:nvPr>
            <p:ph type="pic" sz="quarter" idx="32"/>
          </p:nvPr>
        </p:nvPicPr>
        <p:blipFill>
          <a:blip r:embed="rId14" cstate="hqprint">
            <a:extLst>
              <a:ext uri="{28A0092B-C50C-407E-A947-70E740481C1C}">
                <a14:useLocalDpi xmlns:a14="http://schemas.microsoft.com/office/drawing/2010/main"/>
              </a:ext>
            </a:extLst>
          </a:blip>
          <a:srcRect/>
          <a:stretch>
            <a:fillRect/>
          </a:stretch>
        </p:blipFill>
        <p:spPr bwMode="gray">
          <a:xfrm>
            <a:off x="8264892" y="1555183"/>
            <a:ext cx="3528000" cy="2520000"/>
          </a:xfrm>
        </p:spPr>
      </p:pic>
      <p:sp>
        <p:nvSpPr>
          <p:cNvPr id="111" name="Textplatzhalter 110">
            <a:extLst>
              <a:ext uri="{FF2B5EF4-FFF2-40B4-BE49-F238E27FC236}">
                <a16:creationId xmlns:a16="http://schemas.microsoft.com/office/drawing/2014/main" id="{322EE2EC-B18F-4A3A-B935-8AF1B85EC6DE}"/>
              </a:ext>
            </a:extLst>
          </p:cNvPr>
          <p:cNvSpPr>
            <a:spLocks noGrp="1"/>
          </p:cNvSpPr>
          <p:nvPr>
            <p:ph type="body" sz="quarter" idx="33"/>
          </p:nvPr>
        </p:nvSpPr>
        <p:spPr bwMode="gray">
          <a:xfrm>
            <a:off x="8256240" y="1557033"/>
            <a:ext cx="648000" cy="2520000"/>
          </a:xfrm>
        </p:spPr>
        <p:txBody>
          <a:bodyPr/>
          <a:lstStyle/>
          <a:p>
            <a:endParaRPr lang="en-GB"/>
          </a:p>
        </p:txBody>
      </p:sp>
      <p:sp>
        <p:nvSpPr>
          <p:cNvPr id="112" name="Textplatzhalter 111">
            <a:extLst>
              <a:ext uri="{FF2B5EF4-FFF2-40B4-BE49-F238E27FC236}">
                <a16:creationId xmlns:a16="http://schemas.microsoft.com/office/drawing/2014/main" id="{F6D6EF38-06D0-45BB-9414-5ABF395B5792}"/>
              </a:ext>
            </a:extLst>
          </p:cNvPr>
          <p:cNvSpPr>
            <a:spLocks noGrp="1"/>
          </p:cNvSpPr>
          <p:nvPr>
            <p:ph type="body" sz="quarter" idx="34"/>
          </p:nvPr>
        </p:nvSpPr>
        <p:spPr bwMode="gray"/>
        <p:txBody>
          <a:bodyPr/>
          <a:lstStyle/>
          <a:p>
            <a:endParaRPr lang="en-GB"/>
          </a:p>
        </p:txBody>
      </p:sp>
      <p:sp>
        <p:nvSpPr>
          <p:cNvPr id="113" name="Textplatzhalter 112">
            <a:extLst>
              <a:ext uri="{FF2B5EF4-FFF2-40B4-BE49-F238E27FC236}">
                <a16:creationId xmlns:a16="http://schemas.microsoft.com/office/drawing/2014/main" id="{74F5522A-4C0F-4A17-A403-B2052BEC6B26}"/>
              </a:ext>
            </a:extLst>
          </p:cNvPr>
          <p:cNvSpPr>
            <a:spLocks noGrp="1"/>
          </p:cNvSpPr>
          <p:nvPr>
            <p:ph type="body" sz="quarter" idx="35"/>
          </p:nvPr>
        </p:nvSpPr>
        <p:spPr bwMode="gray">
          <a:xfrm>
            <a:off x="8904312" y="1557033"/>
            <a:ext cx="360000" cy="2520000"/>
          </a:xfrm>
        </p:spPr>
        <p:txBody>
          <a:bodyPr/>
          <a:lstStyle/>
          <a:p>
            <a:endParaRPr lang="en-GB"/>
          </a:p>
        </p:txBody>
      </p:sp>
      <p:sp>
        <p:nvSpPr>
          <p:cNvPr id="27" name="Textplatzhalter 26">
            <a:extLst>
              <a:ext uri="{FF2B5EF4-FFF2-40B4-BE49-F238E27FC236}">
                <a16:creationId xmlns:a16="http://schemas.microsoft.com/office/drawing/2014/main" id="{A14F93FF-258B-4BB4-BF13-C0D9F331624B}"/>
              </a:ext>
            </a:extLst>
          </p:cNvPr>
          <p:cNvSpPr>
            <a:spLocks noGrp="1"/>
          </p:cNvSpPr>
          <p:nvPr>
            <p:ph type="body" sz="quarter" idx="36"/>
            <p:custDataLst>
              <p:tags r:id="rId4"/>
            </p:custDataLst>
          </p:nvPr>
        </p:nvSpPr>
        <p:spPr bwMode="gray">
          <a:xfrm>
            <a:off x="8256761" y="3509451"/>
            <a:ext cx="3528000" cy="567621"/>
          </a:xfrm>
        </p:spPr>
        <p:txBody>
          <a:bodyPr/>
          <a:lstStyle/>
          <a:p>
            <a:r>
              <a:rPr lang="en-GB"/>
              <a:t>Solutions</a:t>
            </a:r>
          </a:p>
        </p:txBody>
      </p:sp>
      <p:sp>
        <p:nvSpPr>
          <p:cNvPr id="122" name="Inhaltsplatzhalter 9">
            <a:extLst>
              <a:ext uri="{FF2B5EF4-FFF2-40B4-BE49-F238E27FC236}">
                <a16:creationId xmlns:a16="http://schemas.microsoft.com/office/drawing/2014/main" id="{7A542E72-3F9A-4DEB-93F1-F58A5F3CEE99}"/>
              </a:ext>
            </a:extLst>
          </p:cNvPr>
          <p:cNvSpPr>
            <a:spLocks noGrp="1"/>
          </p:cNvSpPr>
          <p:nvPr>
            <p:ph idx="1"/>
            <p:custDataLst>
              <p:tags r:id="rId5"/>
            </p:custDataLst>
          </p:nvPr>
        </p:nvSpPr>
        <p:spPr bwMode="gray">
          <a:xfrm>
            <a:off x="407988" y="4221328"/>
            <a:ext cx="3527380" cy="2160000"/>
          </a:xfrm>
        </p:spPr>
        <p:txBody>
          <a:bodyPr vert="horz" lIns="0" tIns="0" rIns="0" bIns="0" rtlCol="0" anchor="t">
            <a:noAutofit/>
          </a:bodyPr>
          <a:lstStyle/>
          <a:p>
            <a:r>
              <a:rPr lang="en-GB" sz="2100">
                <a:solidFill>
                  <a:schemeClr val="accent1"/>
                </a:solidFill>
              </a:rPr>
              <a:t>&gt;5.8 GW</a:t>
            </a:r>
            <a:r>
              <a:rPr lang="en-GB" sz="2100" b="0"/>
              <a:t> </a:t>
            </a:r>
            <a:r>
              <a:rPr lang="en-GB" sz="1400"/>
              <a:t>installed capacity</a:t>
            </a:r>
            <a:r>
              <a:rPr lang="en-GB" sz="1400" b="0"/>
              <a:t> in wind and solar globally. </a:t>
            </a:r>
            <a:br>
              <a:rPr lang="en-GB" sz="1400" b="0"/>
            </a:br>
            <a:endParaRPr lang="en-GB" sz="2000" b="0">
              <a:solidFill>
                <a:srgbClr val="2E2E2E"/>
              </a:solidFill>
            </a:endParaRPr>
          </a:p>
          <a:p>
            <a:r>
              <a:rPr lang="en-GB" sz="2100">
                <a:solidFill>
                  <a:schemeClr val="accent1"/>
                </a:solidFill>
              </a:rPr>
              <a:t>28.65 GW </a:t>
            </a:r>
            <a:r>
              <a:rPr lang="en-US" sz="1400" b="0"/>
              <a:t>global </a:t>
            </a:r>
            <a:r>
              <a:rPr lang="en-US" sz="1400"/>
              <a:t>project pipeline </a:t>
            </a:r>
            <a:r>
              <a:rPr lang="en-US" sz="1400" b="0"/>
              <a:t>solar and wind including new technologies (hybrid projects, storage and green hydrogen). </a:t>
            </a:r>
          </a:p>
          <a:p>
            <a:endParaRPr lang="en-GB" sz="1400"/>
          </a:p>
        </p:txBody>
      </p:sp>
      <p:sp>
        <p:nvSpPr>
          <p:cNvPr id="123" name="Inhaltsplatzhalter 11">
            <a:extLst>
              <a:ext uri="{FF2B5EF4-FFF2-40B4-BE49-F238E27FC236}">
                <a16:creationId xmlns:a16="http://schemas.microsoft.com/office/drawing/2014/main" id="{5A1C0A98-D715-48A6-A07A-9FFF0EB65FE3}"/>
              </a:ext>
            </a:extLst>
          </p:cNvPr>
          <p:cNvSpPr>
            <a:spLocks noGrp="1"/>
          </p:cNvSpPr>
          <p:nvPr>
            <p:ph idx="13"/>
            <p:custDataLst>
              <p:tags r:id="rId6"/>
            </p:custDataLst>
          </p:nvPr>
        </p:nvSpPr>
        <p:spPr bwMode="gray">
          <a:xfrm>
            <a:off x="4295391" y="4221328"/>
            <a:ext cx="3600833" cy="2160000"/>
          </a:xfrm>
        </p:spPr>
        <p:txBody>
          <a:bodyPr/>
          <a:lstStyle/>
          <a:p>
            <a:pPr algn="l"/>
            <a:r>
              <a:rPr lang="en-GB" sz="2100">
                <a:solidFill>
                  <a:schemeClr val="accent1"/>
                </a:solidFill>
              </a:rPr>
              <a:t>10.7 GW </a:t>
            </a:r>
            <a:r>
              <a:rPr lang="de-DE" sz="1400" b="0" err="1"/>
              <a:t>under</a:t>
            </a:r>
            <a:r>
              <a:rPr lang="de-DE" sz="1400" b="0"/>
              <a:t> operational </a:t>
            </a:r>
            <a:r>
              <a:rPr lang="de-DE" sz="1400" b="0" err="1"/>
              <a:t>management</a:t>
            </a:r>
            <a:r>
              <a:rPr lang="de-DE" sz="1400" b="0"/>
              <a:t>; </a:t>
            </a:r>
            <a:r>
              <a:rPr lang="de-DE" sz="1400" b="0" err="1"/>
              <a:t>services</a:t>
            </a:r>
            <a:r>
              <a:rPr lang="de-DE" sz="1400" b="0"/>
              <a:t> in </a:t>
            </a:r>
            <a:r>
              <a:rPr lang="de-DE" sz="1400" err="1"/>
              <a:t>energy</a:t>
            </a:r>
            <a:r>
              <a:rPr lang="de-DE" sz="1400"/>
              <a:t> </a:t>
            </a:r>
            <a:r>
              <a:rPr lang="de-DE" sz="1400" err="1"/>
              <a:t>trading</a:t>
            </a:r>
            <a:r>
              <a:rPr lang="de-DE" sz="1400" b="0"/>
              <a:t>; </a:t>
            </a:r>
            <a:r>
              <a:rPr lang="de-DE" sz="1400" b="0" err="1"/>
              <a:t>consultancy</a:t>
            </a:r>
            <a:r>
              <a:rPr lang="de-DE" sz="1400" b="0"/>
              <a:t> and </a:t>
            </a:r>
            <a:r>
              <a:rPr lang="de-DE" sz="1400" err="1"/>
              <a:t>technical</a:t>
            </a:r>
            <a:r>
              <a:rPr lang="de-DE" sz="1400"/>
              <a:t> </a:t>
            </a:r>
            <a:r>
              <a:rPr lang="de-DE" sz="1400" err="1"/>
              <a:t>management</a:t>
            </a:r>
            <a:r>
              <a:rPr lang="de-DE" sz="1400"/>
              <a:t> </a:t>
            </a:r>
            <a:r>
              <a:rPr lang="de-DE" sz="1400" b="0" err="1"/>
              <a:t>for</a:t>
            </a:r>
            <a:r>
              <a:rPr lang="de-DE" sz="1400" b="0"/>
              <a:t> wind and solar </a:t>
            </a:r>
            <a:r>
              <a:rPr lang="de-DE" sz="1400" b="0" err="1"/>
              <a:t>energy</a:t>
            </a:r>
            <a:r>
              <a:rPr lang="de-DE" sz="1400" b="0"/>
              <a:t>.</a:t>
            </a:r>
          </a:p>
          <a:p>
            <a:r>
              <a:rPr lang="en-GB" sz="2100">
                <a:solidFill>
                  <a:schemeClr val="accent1"/>
                </a:solidFill>
              </a:rPr>
              <a:t>6.8 GW </a:t>
            </a:r>
            <a:r>
              <a:rPr lang="en-GB" sz="1400"/>
              <a:t>direct marketing portfolio</a:t>
            </a:r>
            <a:r>
              <a:rPr lang="en-GB" sz="1400" b="0"/>
              <a:t>.</a:t>
            </a:r>
          </a:p>
          <a:p>
            <a:r>
              <a:rPr lang="en-GB" sz="1400"/>
              <a:t>New </a:t>
            </a:r>
            <a:r>
              <a:rPr lang="en-GB" sz="2100">
                <a:solidFill>
                  <a:schemeClr val="accent1"/>
                </a:solidFill>
              </a:rPr>
              <a:t>IPP</a:t>
            </a:r>
            <a:r>
              <a:rPr lang="en-GB" sz="1400" b="0"/>
              <a:t> </a:t>
            </a:r>
            <a:r>
              <a:rPr lang="en-GB" sz="1400"/>
              <a:t>portfolio</a:t>
            </a:r>
            <a:r>
              <a:rPr lang="en-GB" sz="1400" b="0"/>
              <a:t>;</a:t>
            </a:r>
            <a:r>
              <a:rPr lang="en-GB" sz="1400" b="0">
                <a:solidFill>
                  <a:schemeClr val="tx1"/>
                </a:solidFill>
              </a:rPr>
              <a:t> plans to ramp up to</a:t>
            </a:r>
            <a:br>
              <a:rPr lang="en-GB" sz="1400" b="0">
                <a:solidFill>
                  <a:schemeClr val="tx1"/>
                </a:solidFill>
              </a:rPr>
            </a:br>
            <a:r>
              <a:rPr lang="en-GB" sz="1400" b="0">
                <a:solidFill>
                  <a:schemeClr val="tx1"/>
                </a:solidFill>
              </a:rPr>
              <a:t>2.5</a:t>
            </a:r>
            <a:r>
              <a:rPr lang="en-GB" sz="1400">
                <a:solidFill>
                  <a:schemeClr val="tx1"/>
                </a:solidFill>
              </a:rPr>
              <a:t> </a:t>
            </a:r>
            <a:r>
              <a:rPr lang="en-GB" sz="1400" b="0">
                <a:solidFill>
                  <a:schemeClr val="tx1"/>
                </a:solidFill>
              </a:rPr>
              <a:t>GW in the medium term. </a:t>
            </a:r>
            <a:endParaRPr lang="en-GB" sz="1400" b="0"/>
          </a:p>
        </p:txBody>
      </p:sp>
      <p:sp>
        <p:nvSpPr>
          <p:cNvPr id="124" name="Inhaltsplatzhalter 12">
            <a:extLst>
              <a:ext uri="{FF2B5EF4-FFF2-40B4-BE49-F238E27FC236}">
                <a16:creationId xmlns:a16="http://schemas.microsoft.com/office/drawing/2014/main" id="{B3F07159-67DD-46E0-B0F8-5A5152D93FD9}"/>
              </a:ext>
            </a:extLst>
          </p:cNvPr>
          <p:cNvSpPr>
            <a:spLocks noGrp="1"/>
          </p:cNvSpPr>
          <p:nvPr>
            <p:ph idx="14"/>
            <p:custDataLst>
              <p:tags r:id="rId7"/>
            </p:custDataLst>
          </p:nvPr>
        </p:nvSpPr>
        <p:spPr bwMode="gray">
          <a:xfrm>
            <a:off x="8256240" y="4221328"/>
            <a:ext cx="3528000" cy="2160000"/>
          </a:xfrm>
        </p:spPr>
        <p:txBody>
          <a:bodyPr/>
          <a:lstStyle/>
          <a:p>
            <a:pPr>
              <a:spcBef>
                <a:spcPts val="400"/>
              </a:spcBef>
            </a:pPr>
            <a:r>
              <a:rPr lang="en-GB" sz="2100">
                <a:solidFill>
                  <a:schemeClr val="accent1"/>
                </a:solidFill>
              </a:rPr>
              <a:t>30 years </a:t>
            </a:r>
            <a:r>
              <a:rPr lang="en-GB" sz="1400" b="0"/>
              <a:t>of </a:t>
            </a:r>
            <a:r>
              <a:rPr lang="en-GB" sz="1400"/>
              <a:t>solar distribution experience</a:t>
            </a:r>
            <a:r>
              <a:rPr lang="en-GB" sz="1400" b="0"/>
              <a:t>, a wide range of quality products and services for about</a:t>
            </a:r>
            <a:r>
              <a:rPr lang="en-GB" sz="2100" b="0"/>
              <a:t> </a:t>
            </a:r>
            <a:r>
              <a:rPr lang="en-GB" sz="2100" b="0">
                <a:solidFill>
                  <a:schemeClr val="accent1"/>
                </a:solidFill>
              </a:rPr>
              <a:t>~</a:t>
            </a:r>
            <a:r>
              <a:rPr lang="en-GB" sz="2100">
                <a:solidFill>
                  <a:schemeClr val="accent1"/>
                </a:solidFill>
              </a:rPr>
              <a:t> 17,000 </a:t>
            </a:r>
            <a:r>
              <a:rPr lang="en-GB" sz="1400"/>
              <a:t>installation </a:t>
            </a:r>
            <a:r>
              <a:rPr lang="en-GB" sz="1400" b="0"/>
              <a:t>and </a:t>
            </a:r>
            <a:r>
              <a:rPr lang="en-GB" sz="1400"/>
              <a:t>sales partners </a:t>
            </a:r>
            <a:r>
              <a:rPr lang="en-GB" sz="1400" b="0"/>
              <a:t>globally. </a:t>
            </a:r>
            <a:endParaRPr lang="en-GB" sz="700" b="0"/>
          </a:p>
          <a:p>
            <a:pPr>
              <a:spcBef>
                <a:spcPts val="400"/>
              </a:spcBef>
            </a:pPr>
            <a:r>
              <a:rPr lang="en-GB" sz="1400"/>
              <a:t>Tailor-made</a:t>
            </a:r>
            <a:r>
              <a:rPr lang="en-GB" sz="2000" b="0"/>
              <a:t> </a:t>
            </a:r>
            <a:r>
              <a:rPr lang="en-GB" sz="2100">
                <a:solidFill>
                  <a:schemeClr val="accent1"/>
                </a:solidFill>
              </a:rPr>
              <a:t>Energy Solutions </a:t>
            </a:r>
            <a:r>
              <a:rPr lang="en-GB" sz="1400" b="0"/>
              <a:t>for </a:t>
            </a:r>
            <a:r>
              <a:rPr lang="en-GB" sz="1400"/>
              <a:t>commercial and industrial clients</a:t>
            </a:r>
            <a:br>
              <a:rPr lang="en-GB" sz="2400"/>
            </a:br>
            <a:r>
              <a:rPr lang="en-GB" sz="1400" b="0"/>
              <a:t>from self-consumption to green energy supply. </a:t>
            </a:r>
            <a:endParaRPr lang="en-GB" sz="1400"/>
          </a:p>
        </p:txBody>
      </p:sp>
      <p:sp>
        <p:nvSpPr>
          <p:cNvPr id="7" name="Slide Number Placeholder 6">
            <a:extLst>
              <a:ext uri="{FF2B5EF4-FFF2-40B4-BE49-F238E27FC236}">
                <a16:creationId xmlns:a16="http://schemas.microsoft.com/office/drawing/2014/main" id="{74E7D6E6-4B22-40C9-A62E-C1A2665CCC17}"/>
              </a:ext>
            </a:extLst>
          </p:cNvPr>
          <p:cNvSpPr>
            <a:spLocks noGrp="1"/>
          </p:cNvSpPr>
          <p:nvPr>
            <p:ph type="sldNum" sz="quarter" idx="12"/>
          </p:nvPr>
        </p:nvSpPr>
        <p:spPr/>
        <p:txBody>
          <a:bodyPr/>
          <a:lstStyle/>
          <a:p>
            <a:fld id="{3B140A39-527A-45CF-A911-B921024B92E6}" type="slidenum">
              <a:rPr lang="en-GB" noProof="0" smtClean="0"/>
              <a:t>3</a:t>
            </a:fld>
            <a:endParaRPr lang="en-GB" noProof="0"/>
          </a:p>
        </p:txBody>
      </p:sp>
    </p:spTree>
    <p:extLst>
      <p:ext uri="{BB962C8B-B14F-4D97-AF65-F5344CB8AC3E}">
        <p14:creationId xmlns:p14="http://schemas.microsoft.com/office/powerpoint/2010/main" val="50087273"/>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feld 57">
            <a:extLst>
              <a:ext uri="{FF2B5EF4-FFF2-40B4-BE49-F238E27FC236}">
                <a16:creationId xmlns:a16="http://schemas.microsoft.com/office/drawing/2014/main" id="{64C0BE97-EF53-4688-B536-6DE25F9AAB1B}"/>
              </a:ext>
            </a:extLst>
          </p:cNvPr>
          <p:cNvSpPr txBox="1"/>
          <p:nvPr/>
        </p:nvSpPr>
        <p:spPr>
          <a:xfrm>
            <a:off x="3647793" y="3250063"/>
            <a:ext cx="1653894" cy="694632"/>
          </a:xfrm>
          <a:prstGeom prst="rect">
            <a:avLst/>
          </a:prstGeom>
          <a:noFill/>
          <a:ln w="6350">
            <a:noFill/>
          </a:ln>
        </p:spPr>
        <p:txBody>
          <a:bodyPr wrap="square" lIns="108000" tIns="72000" rIns="108000" bIns="72000" rtlCol="0" anchor="ctr">
            <a:noAutofit/>
          </a:bodyPr>
          <a:lstStyle/>
          <a:p>
            <a:pPr marL="105750" algn="r">
              <a:buClr>
                <a:schemeClr val="accent1"/>
              </a:buClr>
            </a:pPr>
            <a:r>
              <a:rPr lang="en-GB" sz="1200" b="0" dirty="0">
                <a:solidFill>
                  <a:schemeClr val="tx1"/>
                </a:solidFill>
              </a:rPr>
              <a:t>Floating PV, </a:t>
            </a:r>
            <a:br>
              <a:rPr lang="en-GB" sz="1200" b="0" dirty="0">
                <a:solidFill>
                  <a:schemeClr val="tx1"/>
                </a:solidFill>
              </a:rPr>
            </a:br>
            <a:r>
              <a:rPr lang="en-GB" sz="1200" b="0" dirty="0">
                <a:solidFill>
                  <a:schemeClr val="tx1"/>
                </a:solidFill>
              </a:rPr>
              <a:t>floating solar farms on water</a:t>
            </a:r>
          </a:p>
        </p:txBody>
      </p:sp>
      <p:sp>
        <p:nvSpPr>
          <p:cNvPr id="74" name="Textfeld 73">
            <a:extLst>
              <a:ext uri="{FF2B5EF4-FFF2-40B4-BE49-F238E27FC236}">
                <a16:creationId xmlns:a16="http://schemas.microsoft.com/office/drawing/2014/main" id="{AF846AB4-C14E-48A6-87C7-7D5466DC1C9E}"/>
              </a:ext>
            </a:extLst>
          </p:cNvPr>
          <p:cNvSpPr txBox="1"/>
          <p:nvPr/>
        </p:nvSpPr>
        <p:spPr>
          <a:xfrm flipH="1">
            <a:off x="825184" y="3248129"/>
            <a:ext cx="1874904" cy="694632"/>
          </a:xfrm>
          <a:prstGeom prst="rect">
            <a:avLst/>
          </a:prstGeom>
          <a:noFill/>
          <a:ln w="6350">
            <a:noFill/>
          </a:ln>
        </p:spPr>
        <p:txBody>
          <a:bodyPr wrap="square" lIns="108000" tIns="72000" rIns="108000" bIns="72000" rtlCol="0" anchor="ctr">
            <a:noAutofit/>
          </a:bodyPr>
          <a:lstStyle/>
          <a:p>
            <a:pPr marL="105750">
              <a:buClr>
                <a:schemeClr val="accent1"/>
              </a:buClr>
            </a:pPr>
            <a:r>
              <a:rPr lang="en-GB" sz="1200" b="0" dirty="0">
                <a:solidFill>
                  <a:schemeClr val="tx1"/>
                </a:solidFill>
              </a:rPr>
              <a:t>Optimisation and repowering  </a:t>
            </a:r>
          </a:p>
        </p:txBody>
      </p:sp>
      <p:sp>
        <p:nvSpPr>
          <p:cNvPr id="98" name="Textfeld 97">
            <a:extLst>
              <a:ext uri="{FF2B5EF4-FFF2-40B4-BE49-F238E27FC236}">
                <a16:creationId xmlns:a16="http://schemas.microsoft.com/office/drawing/2014/main" id="{006C6104-E9FE-45C9-84F9-65CE536ABD9F}"/>
              </a:ext>
            </a:extLst>
          </p:cNvPr>
          <p:cNvSpPr txBox="1"/>
          <p:nvPr/>
        </p:nvSpPr>
        <p:spPr>
          <a:xfrm flipH="1">
            <a:off x="825183" y="4405068"/>
            <a:ext cx="1873681" cy="694632"/>
          </a:xfrm>
          <a:prstGeom prst="rect">
            <a:avLst/>
          </a:prstGeom>
          <a:noFill/>
          <a:ln w="6350">
            <a:noFill/>
          </a:ln>
        </p:spPr>
        <p:txBody>
          <a:bodyPr wrap="square" lIns="108000" tIns="72000" rIns="108000" bIns="72000" rtlCol="0" anchor="ctr">
            <a:noAutofit/>
          </a:bodyPr>
          <a:lstStyle/>
          <a:p>
            <a:pPr marL="105750">
              <a:buClr>
                <a:schemeClr val="accent1"/>
              </a:buClr>
            </a:pPr>
            <a:r>
              <a:rPr lang="de-DE" sz="1200" b="0" dirty="0">
                <a:solidFill>
                  <a:srgbClr val="000000"/>
                </a:solidFill>
              </a:rPr>
              <a:t>Long-term </a:t>
            </a:r>
            <a:br>
              <a:rPr lang="de-DE" sz="1200" b="0" dirty="0">
                <a:solidFill>
                  <a:srgbClr val="000000"/>
                </a:solidFill>
              </a:rPr>
            </a:br>
            <a:r>
              <a:rPr lang="de-DE" sz="1200" b="0" dirty="0" err="1">
                <a:solidFill>
                  <a:srgbClr val="000000"/>
                </a:solidFill>
              </a:rPr>
              <a:t>operations</a:t>
            </a:r>
            <a:endParaRPr lang="de-DE" sz="1200" b="0" dirty="0">
              <a:solidFill>
                <a:srgbClr val="000000"/>
              </a:solidFill>
            </a:endParaRPr>
          </a:p>
        </p:txBody>
      </p:sp>
      <p:pic>
        <p:nvPicPr>
          <p:cNvPr id="27" name="Bildplatzhalter 26" descr="Ein Bild, das Himmel, Gras, draußen, Outdoorobjekt enthält.&#10;&#10;Automatisch generierte Beschreibung">
            <a:extLst>
              <a:ext uri="{FF2B5EF4-FFF2-40B4-BE49-F238E27FC236}">
                <a16:creationId xmlns:a16="http://schemas.microsoft.com/office/drawing/2014/main" id="{AC02CB50-054E-732B-EE14-3EA79DA00E2D}"/>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2" b="2"/>
          <a:stretch>
            <a:fillRect/>
          </a:stretch>
        </p:blipFill>
        <p:spPr/>
      </p:pic>
      <p:sp>
        <p:nvSpPr>
          <p:cNvPr id="2" name="Titel 1">
            <a:extLst>
              <a:ext uri="{FF2B5EF4-FFF2-40B4-BE49-F238E27FC236}">
                <a16:creationId xmlns:a16="http://schemas.microsoft.com/office/drawing/2014/main" id="{561A18EB-3727-41E9-8A6D-56EF05892F44}"/>
              </a:ext>
            </a:extLst>
          </p:cNvPr>
          <p:cNvSpPr>
            <a:spLocks noGrp="1"/>
          </p:cNvSpPr>
          <p:nvPr>
            <p:ph type="title"/>
          </p:nvPr>
        </p:nvSpPr>
        <p:spPr/>
        <p:txBody>
          <a:bodyPr/>
          <a:lstStyle/>
          <a:p>
            <a:r>
              <a:rPr lang="en-GB" dirty="0"/>
              <a:t>Driving forward the renewable transition with more than 30 years of experience in project business globally</a:t>
            </a:r>
            <a:endParaRPr lang="de-DE" dirty="0"/>
          </a:p>
        </p:txBody>
      </p:sp>
      <p:sp>
        <p:nvSpPr>
          <p:cNvPr id="19" name="Textplatzhalter 18">
            <a:extLst>
              <a:ext uri="{FF2B5EF4-FFF2-40B4-BE49-F238E27FC236}">
                <a16:creationId xmlns:a16="http://schemas.microsoft.com/office/drawing/2014/main" id="{FAD4C843-4A33-2CB0-3E72-F40E96350FF9}"/>
              </a:ext>
            </a:extLst>
          </p:cNvPr>
          <p:cNvSpPr>
            <a:spLocks noGrp="1"/>
          </p:cNvSpPr>
          <p:nvPr>
            <p:ph type="body" sz="quarter" idx="39"/>
          </p:nvPr>
        </p:nvSpPr>
        <p:spPr/>
        <p:txBody>
          <a:bodyPr/>
          <a:lstStyle/>
          <a:p>
            <a:endParaRPr lang="de-DE"/>
          </a:p>
        </p:txBody>
      </p:sp>
      <p:sp>
        <p:nvSpPr>
          <p:cNvPr id="23" name="Textplatzhalter 22">
            <a:extLst>
              <a:ext uri="{FF2B5EF4-FFF2-40B4-BE49-F238E27FC236}">
                <a16:creationId xmlns:a16="http://schemas.microsoft.com/office/drawing/2014/main" id="{9E4DA89C-728E-754F-0C2A-212A452D0D1F}"/>
              </a:ext>
            </a:extLst>
          </p:cNvPr>
          <p:cNvSpPr>
            <a:spLocks noGrp="1"/>
          </p:cNvSpPr>
          <p:nvPr>
            <p:ph type="body" sz="quarter" idx="40"/>
          </p:nvPr>
        </p:nvSpPr>
        <p:spPr/>
        <p:txBody>
          <a:bodyPr/>
          <a:lstStyle/>
          <a:p>
            <a:endParaRPr lang="de-DE"/>
          </a:p>
        </p:txBody>
      </p:sp>
      <p:sp>
        <p:nvSpPr>
          <p:cNvPr id="24" name="Textplatzhalter 23">
            <a:extLst>
              <a:ext uri="{FF2B5EF4-FFF2-40B4-BE49-F238E27FC236}">
                <a16:creationId xmlns:a16="http://schemas.microsoft.com/office/drawing/2014/main" id="{313A5287-4814-7546-01DC-45A3A152A92E}"/>
              </a:ext>
            </a:extLst>
          </p:cNvPr>
          <p:cNvSpPr>
            <a:spLocks noGrp="1"/>
          </p:cNvSpPr>
          <p:nvPr>
            <p:ph type="body" sz="quarter" idx="41"/>
          </p:nvPr>
        </p:nvSpPr>
        <p:spPr/>
        <p:txBody>
          <a:bodyPr/>
          <a:lstStyle/>
          <a:p>
            <a:endParaRPr lang="de-DE"/>
          </a:p>
        </p:txBody>
      </p:sp>
      <p:sp>
        <p:nvSpPr>
          <p:cNvPr id="25" name="Textplatzhalter 24">
            <a:extLst>
              <a:ext uri="{FF2B5EF4-FFF2-40B4-BE49-F238E27FC236}">
                <a16:creationId xmlns:a16="http://schemas.microsoft.com/office/drawing/2014/main" id="{75D02565-60DA-E876-08C6-1273B55680E0}"/>
              </a:ext>
            </a:extLst>
          </p:cNvPr>
          <p:cNvSpPr>
            <a:spLocks noGrp="1"/>
          </p:cNvSpPr>
          <p:nvPr>
            <p:ph type="body" sz="quarter" idx="42"/>
          </p:nvPr>
        </p:nvSpPr>
        <p:spPr/>
        <p:txBody>
          <a:bodyPr/>
          <a:lstStyle/>
          <a:p>
            <a:endParaRPr lang="de-DE"/>
          </a:p>
        </p:txBody>
      </p:sp>
      <p:sp>
        <p:nvSpPr>
          <p:cNvPr id="18" name="Textfeld 17">
            <a:extLst>
              <a:ext uri="{FF2B5EF4-FFF2-40B4-BE49-F238E27FC236}">
                <a16:creationId xmlns:a16="http://schemas.microsoft.com/office/drawing/2014/main" id="{1B5C9EE2-ACA1-4CDA-A56E-4C01E3986C82}"/>
              </a:ext>
            </a:extLst>
          </p:cNvPr>
          <p:cNvSpPr txBox="1"/>
          <p:nvPr/>
        </p:nvSpPr>
        <p:spPr>
          <a:xfrm>
            <a:off x="2393920" y="489139"/>
            <a:ext cx="3299041" cy="466474"/>
          </a:xfrm>
          <a:prstGeom prst="rect">
            <a:avLst/>
          </a:prstGeom>
          <a:noFill/>
        </p:spPr>
        <p:txBody>
          <a:bodyPr wrap="square" lIns="108000" tIns="72000" rIns="108000" bIns="72000" rtlCol="0">
            <a:noAutofit/>
          </a:bodyPr>
          <a:lstStyle/>
          <a:p>
            <a:pPr>
              <a:buClr>
                <a:schemeClr val="accent1"/>
              </a:buClr>
            </a:pPr>
            <a:endParaRPr lang="en-GB" sz="1600" dirty="0"/>
          </a:p>
          <a:p>
            <a:pPr>
              <a:buClr>
                <a:schemeClr val="accent1"/>
              </a:buClr>
            </a:pPr>
            <a:endParaRPr lang="en-GB" sz="1600" b="0" dirty="0">
              <a:solidFill>
                <a:schemeClr val="tx1"/>
              </a:solidFill>
            </a:endParaRPr>
          </a:p>
          <a:p>
            <a:pPr algn="l">
              <a:buClr>
                <a:schemeClr val="accent1"/>
              </a:buClr>
            </a:pPr>
            <a:endParaRPr lang="de-DE" sz="1600" dirty="0" err="1"/>
          </a:p>
        </p:txBody>
      </p:sp>
      <p:pic>
        <p:nvPicPr>
          <p:cNvPr id="7" name="Grafik 6">
            <a:extLst>
              <a:ext uri="{FF2B5EF4-FFF2-40B4-BE49-F238E27FC236}">
                <a16:creationId xmlns:a16="http://schemas.microsoft.com/office/drawing/2014/main" id="{9C04ACAF-C08F-43C5-BDBB-2752CDA2A33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123" y="2317086"/>
            <a:ext cx="328954" cy="349731"/>
          </a:xfrm>
          <a:prstGeom prst="rect">
            <a:avLst/>
          </a:prstGeom>
        </p:spPr>
      </p:pic>
      <p:pic>
        <p:nvPicPr>
          <p:cNvPr id="32" name="Grafik 31">
            <a:extLst>
              <a:ext uri="{FF2B5EF4-FFF2-40B4-BE49-F238E27FC236}">
                <a16:creationId xmlns:a16="http://schemas.microsoft.com/office/drawing/2014/main" id="{01099EF5-6F7F-45FC-AA67-3C4F0B0025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0122" y="5643571"/>
            <a:ext cx="337006" cy="358292"/>
          </a:xfrm>
          <a:prstGeom prst="rect">
            <a:avLst/>
          </a:prstGeom>
        </p:spPr>
      </p:pic>
      <p:pic>
        <p:nvPicPr>
          <p:cNvPr id="16" name="Grafik 15">
            <a:extLst>
              <a:ext uri="{FF2B5EF4-FFF2-40B4-BE49-F238E27FC236}">
                <a16:creationId xmlns:a16="http://schemas.microsoft.com/office/drawing/2014/main" id="{CCA07395-E8DA-427C-9DEB-531027C020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122" y="3421829"/>
            <a:ext cx="306008" cy="325336"/>
          </a:xfrm>
          <a:prstGeom prst="rect">
            <a:avLst/>
          </a:prstGeom>
        </p:spPr>
      </p:pic>
      <p:sp>
        <p:nvSpPr>
          <p:cNvPr id="47" name="Textfeld 46">
            <a:extLst>
              <a:ext uri="{FF2B5EF4-FFF2-40B4-BE49-F238E27FC236}">
                <a16:creationId xmlns:a16="http://schemas.microsoft.com/office/drawing/2014/main" id="{A718BFA3-1C33-4C17-B2F2-0879E7FE4A8E}"/>
              </a:ext>
            </a:extLst>
          </p:cNvPr>
          <p:cNvSpPr txBox="1"/>
          <p:nvPr/>
        </p:nvSpPr>
        <p:spPr>
          <a:xfrm>
            <a:off x="12120198" y="-2243273"/>
            <a:ext cx="4202577" cy="793510"/>
          </a:xfrm>
          <a:prstGeom prst="rect">
            <a:avLst/>
          </a:prstGeom>
          <a:noFill/>
          <a:ln w="6350">
            <a:noFill/>
          </a:ln>
        </p:spPr>
        <p:txBody>
          <a:bodyPr wrap="square" lIns="108000" tIns="72000" rIns="108000" bIns="72000" rtlCol="0" anchor="ctr">
            <a:noAutofit/>
          </a:bodyPr>
          <a:lstStyle/>
          <a:p>
            <a:pPr marL="493200" lvl="1" algn="r">
              <a:spcBef>
                <a:spcPts val="100"/>
              </a:spcBef>
              <a:buClr>
                <a:schemeClr val="accent1"/>
              </a:buClr>
              <a:buSzPct val="90000"/>
            </a:pPr>
            <a:endParaRPr lang="de-DE" sz="1600" b="0" dirty="0">
              <a:solidFill>
                <a:schemeClr val="tx1"/>
              </a:solidFill>
            </a:endParaRPr>
          </a:p>
        </p:txBody>
      </p:sp>
      <p:pic>
        <p:nvPicPr>
          <p:cNvPr id="29" name="Grafik 28">
            <a:extLst>
              <a:ext uri="{FF2B5EF4-FFF2-40B4-BE49-F238E27FC236}">
                <a16:creationId xmlns:a16="http://schemas.microsoft.com/office/drawing/2014/main" id="{46F12AFE-E3EB-4327-8C6C-5845100707D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402602" y="5395002"/>
            <a:ext cx="540908" cy="324545"/>
          </a:xfrm>
          <a:prstGeom prst="rect">
            <a:avLst/>
          </a:prstGeom>
        </p:spPr>
      </p:pic>
      <p:grpSp>
        <p:nvGrpSpPr>
          <p:cNvPr id="14" name="Gruppieren 13">
            <a:extLst>
              <a:ext uri="{FF2B5EF4-FFF2-40B4-BE49-F238E27FC236}">
                <a16:creationId xmlns:a16="http://schemas.microsoft.com/office/drawing/2014/main" id="{DA626203-3DC7-4F95-A9EE-9E7E63306ED6}"/>
              </a:ext>
            </a:extLst>
          </p:cNvPr>
          <p:cNvGrpSpPr/>
          <p:nvPr/>
        </p:nvGrpSpPr>
        <p:grpSpPr>
          <a:xfrm>
            <a:off x="3264591" y="2101247"/>
            <a:ext cx="2767909" cy="2210769"/>
            <a:chOff x="6220265" y="2168213"/>
            <a:chExt cx="3971391" cy="5414432"/>
          </a:xfrm>
        </p:grpSpPr>
        <p:cxnSp>
          <p:nvCxnSpPr>
            <p:cNvPr id="10" name="Gerader Verbinder 9">
              <a:extLst>
                <a:ext uri="{FF2B5EF4-FFF2-40B4-BE49-F238E27FC236}">
                  <a16:creationId xmlns:a16="http://schemas.microsoft.com/office/drawing/2014/main" id="{437FE23C-6727-43F9-BF16-49735A3E4F13}"/>
                </a:ext>
              </a:extLst>
            </p:cNvPr>
            <p:cNvCxnSpPr>
              <a:cxnSpLocks/>
            </p:cNvCxnSpPr>
            <p:nvPr/>
          </p:nvCxnSpPr>
          <p:spPr>
            <a:xfrm flipV="1">
              <a:off x="6223945" y="2171862"/>
              <a:ext cx="0" cy="54107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3C258B0-F707-403D-9220-54528CD65192}"/>
                </a:ext>
              </a:extLst>
            </p:cNvPr>
            <p:cNvCxnSpPr>
              <a:cxnSpLocks/>
            </p:cNvCxnSpPr>
            <p:nvPr/>
          </p:nvCxnSpPr>
          <p:spPr>
            <a:xfrm>
              <a:off x="6220265" y="2168213"/>
              <a:ext cx="397139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5" name="Textfeld 44">
            <a:extLst>
              <a:ext uri="{FF2B5EF4-FFF2-40B4-BE49-F238E27FC236}">
                <a16:creationId xmlns:a16="http://schemas.microsoft.com/office/drawing/2014/main" id="{AF9D7A7F-8387-434A-ACDA-D7C3B1EB54D3}"/>
              </a:ext>
            </a:extLst>
          </p:cNvPr>
          <p:cNvSpPr txBox="1"/>
          <p:nvPr/>
        </p:nvSpPr>
        <p:spPr>
          <a:xfrm>
            <a:off x="3647792" y="2158133"/>
            <a:ext cx="1653895" cy="647803"/>
          </a:xfrm>
          <a:prstGeom prst="rect">
            <a:avLst/>
          </a:prstGeom>
          <a:noFill/>
          <a:ln w="6350">
            <a:noFill/>
          </a:ln>
        </p:spPr>
        <p:txBody>
          <a:bodyPr wrap="square" lIns="108000" tIns="72000" rIns="108000" bIns="72000" rtlCol="0" anchor="ctr">
            <a:noAutofit/>
          </a:bodyPr>
          <a:lstStyle>
            <a:defPPr>
              <a:defRPr lang="de-DE"/>
            </a:defPPr>
            <a:lvl1pPr marL="105750" algn="r">
              <a:buClr>
                <a:schemeClr val="accent1"/>
              </a:buClr>
              <a:defRPr sz="1600" b="0"/>
            </a:lvl1pPr>
          </a:lstStyle>
          <a:p>
            <a:r>
              <a:rPr lang="en-GB" sz="1200" dirty="0"/>
              <a:t>Offshore wind, </a:t>
            </a:r>
            <a:br>
              <a:rPr lang="en-GB" sz="1200" dirty="0"/>
            </a:br>
            <a:r>
              <a:rPr lang="en-GB" sz="1200" dirty="0"/>
              <a:t>bottom fixed and floating</a:t>
            </a:r>
          </a:p>
        </p:txBody>
      </p:sp>
      <p:pic>
        <p:nvPicPr>
          <p:cNvPr id="20" name="Grafik 19">
            <a:extLst>
              <a:ext uri="{FF2B5EF4-FFF2-40B4-BE49-F238E27FC236}">
                <a16:creationId xmlns:a16="http://schemas.microsoft.com/office/drawing/2014/main" id="{257E82AB-BBD2-452B-BDF6-823BF78AC6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25438" y="2317086"/>
            <a:ext cx="427421" cy="404473"/>
          </a:xfrm>
          <a:prstGeom prst="rect">
            <a:avLst/>
          </a:prstGeom>
        </p:spPr>
      </p:pic>
      <p:pic>
        <p:nvPicPr>
          <p:cNvPr id="22" name="Grafik 21">
            <a:extLst>
              <a:ext uri="{FF2B5EF4-FFF2-40B4-BE49-F238E27FC236}">
                <a16:creationId xmlns:a16="http://schemas.microsoft.com/office/drawing/2014/main" id="{6E84AFA0-300B-436E-BC62-5CD841D24ED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02555" y="3421829"/>
            <a:ext cx="488737" cy="376499"/>
          </a:xfrm>
          <a:prstGeom prst="rect">
            <a:avLst/>
          </a:prstGeom>
        </p:spPr>
      </p:pic>
      <p:grpSp>
        <p:nvGrpSpPr>
          <p:cNvPr id="43" name="Gruppieren 42">
            <a:extLst>
              <a:ext uri="{FF2B5EF4-FFF2-40B4-BE49-F238E27FC236}">
                <a16:creationId xmlns:a16="http://schemas.microsoft.com/office/drawing/2014/main" id="{AC8F25FC-8790-4B94-A50C-F6C9DA39ED0D}"/>
              </a:ext>
            </a:extLst>
          </p:cNvPr>
          <p:cNvGrpSpPr/>
          <p:nvPr/>
        </p:nvGrpSpPr>
        <p:grpSpPr>
          <a:xfrm>
            <a:off x="3482870" y="3190205"/>
            <a:ext cx="2510606" cy="1100242"/>
            <a:chOff x="6220265" y="2168213"/>
            <a:chExt cx="3971391" cy="2628726"/>
          </a:xfrm>
        </p:grpSpPr>
        <p:cxnSp>
          <p:nvCxnSpPr>
            <p:cNvPr id="53" name="Gerader Verbinder 52">
              <a:extLst>
                <a:ext uri="{FF2B5EF4-FFF2-40B4-BE49-F238E27FC236}">
                  <a16:creationId xmlns:a16="http://schemas.microsoft.com/office/drawing/2014/main" id="{FCFEEEF7-EA69-4DF3-A3B8-89728353BBCE}"/>
                </a:ext>
              </a:extLst>
            </p:cNvPr>
            <p:cNvCxnSpPr>
              <a:cxnSpLocks/>
            </p:cNvCxnSpPr>
            <p:nvPr/>
          </p:nvCxnSpPr>
          <p:spPr>
            <a:xfrm flipV="1">
              <a:off x="6223945" y="2171861"/>
              <a:ext cx="0" cy="26250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2FB02A35-A233-41DC-BD92-4D9EDAEE8EB0}"/>
                </a:ext>
              </a:extLst>
            </p:cNvPr>
            <p:cNvCxnSpPr>
              <a:cxnSpLocks/>
            </p:cNvCxnSpPr>
            <p:nvPr/>
          </p:nvCxnSpPr>
          <p:spPr>
            <a:xfrm>
              <a:off x="6220265" y="2168213"/>
              <a:ext cx="397139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5B8D2DF6-2BC6-4F34-AA15-1ECD075E19F0}"/>
              </a:ext>
            </a:extLst>
          </p:cNvPr>
          <p:cNvGrpSpPr/>
          <p:nvPr/>
        </p:nvGrpSpPr>
        <p:grpSpPr>
          <a:xfrm flipV="1">
            <a:off x="3259713" y="4134955"/>
            <a:ext cx="2743288" cy="2123665"/>
            <a:chOff x="6220265" y="2168213"/>
            <a:chExt cx="3971391" cy="3980145"/>
          </a:xfrm>
        </p:grpSpPr>
        <p:cxnSp>
          <p:nvCxnSpPr>
            <p:cNvPr id="64" name="Gerader Verbinder 63">
              <a:extLst>
                <a:ext uri="{FF2B5EF4-FFF2-40B4-BE49-F238E27FC236}">
                  <a16:creationId xmlns:a16="http://schemas.microsoft.com/office/drawing/2014/main" id="{C32F7B15-5431-4A2E-A2F8-86BE8BE839AB}"/>
                </a:ext>
              </a:extLst>
            </p:cNvPr>
            <p:cNvCxnSpPr>
              <a:cxnSpLocks/>
            </p:cNvCxnSpPr>
            <p:nvPr/>
          </p:nvCxnSpPr>
          <p:spPr>
            <a:xfrm flipV="1">
              <a:off x="6223945" y="2171861"/>
              <a:ext cx="0" cy="397649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BE7F2F94-045D-47A4-B5E7-A2929B380162}"/>
                </a:ext>
              </a:extLst>
            </p:cNvPr>
            <p:cNvCxnSpPr>
              <a:cxnSpLocks/>
            </p:cNvCxnSpPr>
            <p:nvPr/>
          </p:nvCxnSpPr>
          <p:spPr>
            <a:xfrm>
              <a:off x="6220265" y="2168213"/>
              <a:ext cx="397139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63" name="Textfeld 62">
            <a:extLst>
              <a:ext uri="{FF2B5EF4-FFF2-40B4-BE49-F238E27FC236}">
                <a16:creationId xmlns:a16="http://schemas.microsoft.com/office/drawing/2014/main" id="{DAE5CAA8-3F39-4E64-A610-2A33A87F68EB}"/>
              </a:ext>
            </a:extLst>
          </p:cNvPr>
          <p:cNvSpPr txBox="1"/>
          <p:nvPr/>
        </p:nvSpPr>
        <p:spPr>
          <a:xfrm>
            <a:off x="3340882" y="5417447"/>
            <a:ext cx="1956053" cy="839840"/>
          </a:xfrm>
          <a:prstGeom prst="rect">
            <a:avLst/>
          </a:prstGeom>
          <a:noFill/>
          <a:ln w="6350">
            <a:noFill/>
          </a:ln>
        </p:spPr>
        <p:txBody>
          <a:bodyPr wrap="square" lIns="108000" tIns="72000" rIns="108000" bIns="72000" rtlCol="0" anchor="ctr">
            <a:noAutofit/>
          </a:bodyPr>
          <a:lstStyle/>
          <a:p>
            <a:pPr algn="r">
              <a:buClr>
                <a:schemeClr val="accent1"/>
              </a:buClr>
            </a:pPr>
            <a:r>
              <a:rPr lang="en-GB" sz="1200" b="0" dirty="0">
                <a:solidFill>
                  <a:schemeClr val="tx1"/>
                </a:solidFill>
              </a:rPr>
              <a:t>Hybrid farms, combining </a:t>
            </a:r>
            <a:br>
              <a:rPr lang="en-GB" sz="1200" b="0" dirty="0">
                <a:solidFill>
                  <a:schemeClr val="tx1"/>
                </a:solidFill>
              </a:rPr>
            </a:br>
            <a:r>
              <a:rPr lang="en-GB" sz="1200" b="0" dirty="0">
                <a:solidFill>
                  <a:schemeClr val="tx1"/>
                </a:solidFill>
              </a:rPr>
              <a:t>solar and wind, battery storage, green hydrogen </a:t>
            </a:r>
          </a:p>
        </p:txBody>
      </p:sp>
      <p:grpSp>
        <p:nvGrpSpPr>
          <p:cNvPr id="67" name="Gruppieren 66">
            <a:extLst>
              <a:ext uri="{FF2B5EF4-FFF2-40B4-BE49-F238E27FC236}">
                <a16:creationId xmlns:a16="http://schemas.microsoft.com/office/drawing/2014/main" id="{BFA401CA-1FC4-4D22-AFCE-E4E8477BEFB6}"/>
              </a:ext>
            </a:extLst>
          </p:cNvPr>
          <p:cNvGrpSpPr/>
          <p:nvPr/>
        </p:nvGrpSpPr>
        <p:grpSpPr>
          <a:xfrm flipH="1">
            <a:off x="434464" y="2101247"/>
            <a:ext cx="2633801" cy="2110247"/>
            <a:chOff x="6220265" y="2168213"/>
            <a:chExt cx="3971391" cy="5168242"/>
          </a:xfrm>
        </p:grpSpPr>
        <p:cxnSp>
          <p:nvCxnSpPr>
            <p:cNvPr id="70" name="Gerader Verbinder 69">
              <a:extLst>
                <a:ext uri="{FF2B5EF4-FFF2-40B4-BE49-F238E27FC236}">
                  <a16:creationId xmlns:a16="http://schemas.microsoft.com/office/drawing/2014/main" id="{B5297CD9-7DA4-40E7-A2C7-734B699DB732}"/>
                </a:ext>
              </a:extLst>
            </p:cNvPr>
            <p:cNvCxnSpPr>
              <a:cxnSpLocks/>
            </p:cNvCxnSpPr>
            <p:nvPr/>
          </p:nvCxnSpPr>
          <p:spPr>
            <a:xfrm flipH="1" flipV="1">
              <a:off x="6223945" y="2171862"/>
              <a:ext cx="0" cy="516459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329AD0C7-E07C-4E7F-B8B9-B22DFADE304B}"/>
                </a:ext>
              </a:extLst>
            </p:cNvPr>
            <p:cNvCxnSpPr>
              <a:cxnSpLocks/>
            </p:cNvCxnSpPr>
            <p:nvPr/>
          </p:nvCxnSpPr>
          <p:spPr>
            <a:xfrm>
              <a:off x="6220265" y="2168213"/>
              <a:ext cx="397139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68" name="Textfeld 67">
            <a:extLst>
              <a:ext uri="{FF2B5EF4-FFF2-40B4-BE49-F238E27FC236}">
                <a16:creationId xmlns:a16="http://schemas.microsoft.com/office/drawing/2014/main" id="{1E62F20A-BC36-412E-9A93-DE888B1ADFF4}"/>
              </a:ext>
            </a:extLst>
          </p:cNvPr>
          <p:cNvSpPr txBox="1"/>
          <p:nvPr/>
        </p:nvSpPr>
        <p:spPr>
          <a:xfrm flipH="1">
            <a:off x="825181" y="2156641"/>
            <a:ext cx="1879851" cy="676806"/>
          </a:xfrm>
          <a:prstGeom prst="rect">
            <a:avLst/>
          </a:prstGeom>
          <a:noFill/>
          <a:ln w="6350">
            <a:noFill/>
          </a:ln>
        </p:spPr>
        <p:txBody>
          <a:bodyPr wrap="square" lIns="108000" tIns="72000" rIns="108000" bIns="72000" rtlCol="0" anchor="ctr">
            <a:noAutofit/>
          </a:bodyPr>
          <a:lstStyle/>
          <a:p>
            <a:pPr marL="105750">
              <a:buClr>
                <a:schemeClr val="accent1"/>
              </a:buClr>
            </a:pPr>
            <a:r>
              <a:rPr lang="en-GB" sz="1200" b="0" dirty="0">
                <a:solidFill>
                  <a:schemeClr val="tx1"/>
                </a:solidFill>
              </a:rPr>
              <a:t>Project development, turnkey construction, financing </a:t>
            </a:r>
          </a:p>
        </p:txBody>
      </p:sp>
      <p:grpSp>
        <p:nvGrpSpPr>
          <p:cNvPr id="73" name="Gruppieren 72">
            <a:extLst>
              <a:ext uri="{FF2B5EF4-FFF2-40B4-BE49-F238E27FC236}">
                <a16:creationId xmlns:a16="http://schemas.microsoft.com/office/drawing/2014/main" id="{3E1C9004-201F-46F8-9BBE-6EFFB458347C}"/>
              </a:ext>
            </a:extLst>
          </p:cNvPr>
          <p:cNvGrpSpPr/>
          <p:nvPr/>
        </p:nvGrpSpPr>
        <p:grpSpPr>
          <a:xfrm flipH="1">
            <a:off x="440625" y="3188715"/>
            <a:ext cx="2440360" cy="1031680"/>
            <a:chOff x="6220265" y="2168213"/>
            <a:chExt cx="3971391" cy="2526705"/>
          </a:xfrm>
        </p:grpSpPr>
        <p:cxnSp>
          <p:nvCxnSpPr>
            <p:cNvPr id="76" name="Gerader Verbinder 75">
              <a:extLst>
                <a:ext uri="{FF2B5EF4-FFF2-40B4-BE49-F238E27FC236}">
                  <a16:creationId xmlns:a16="http://schemas.microsoft.com/office/drawing/2014/main" id="{6B064870-A140-48F1-B181-3644D6CE61DD}"/>
                </a:ext>
              </a:extLst>
            </p:cNvPr>
            <p:cNvCxnSpPr>
              <a:cxnSpLocks/>
            </p:cNvCxnSpPr>
            <p:nvPr/>
          </p:nvCxnSpPr>
          <p:spPr>
            <a:xfrm flipH="1" flipV="1">
              <a:off x="6223945" y="2171862"/>
              <a:ext cx="0" cy="252305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6D86D254-2B7F-4588-B60E-D33364E2BA6D}"/>
                </a:ext>
              </a:extLst>
            </p:cNvPr>
            <p:cNvCxnSpPr>
              <a:cxnSpLocks/>
            </p:cNvCxnSpPr>
            <p:nvPr/>
          </p:nvCxnSpPr>
          <p:spPr>
            <a:xfrm>
              <a:off x="6220265" y="2168213"/>
              <a:ext cx="397139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5" name="Gruppieren 84">
            <a:extLst>
              <a:ext uri="{FF2B5EF4-FFF2-40B4-BE49-F238E27FC236}">
                <a16:creationId xmlns:a16="http://schemas.microsoft.com/office/drawing/2014/main" id="{F9F98D09-6AC1-4B5F-9587-FF61A03AA062}"/>
              </a:ext>
            </a:extLst>
          </p:cNvPr>
          <p:cNvGrpSpPr/>
          <p:nvPr/>
        </p:nvGrpSpPr>
        <p:grpSpPr>
          <a:xfrm flipH="1" flipV="1">
            <a:off x="440625" y="4163624"/>
            <a:ext cx="2642379" cy="2123664"/>
            <a:chOff x="6220265" y="2119921"/>
            <a:chExt cx="4092179" cy="4990260"/>
          </a:xfrm>
        </p:grpSpPr>
        <p:cxnSp>
          <p:nvCxnSpPr>
            <p:cNvPr id="88" name="Gerader Verbinder 87">
              <a:extLst>
                <a:ext uri="{FF2B5EF4-FFF2-40B4-BE49-F238E27FC236}">
                  <a16:creationId xmlns:a16="http://schemas.microsoft.com/office/drawing/2014/main" id="{0BA42A50-1BF2-4E62-8C16-B6A919633110}"/>
                </a:ext>
              </a:extLst>
            </p:cNvPr>
            <p:cNvCxnSpPr>
              <a:cxnSpLocks/>
            </p:cNvCxnSpPr>
            <p:nvPr/>
          </p:nvCxnSpPr>
          <p:spPr>
            <a:xfrm flipV="1">
              <a:off x="6220265" y="2171862"/>
              <a:ext cx="3680" cy="493831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DEFBCC7D-9D16-469A-A34B-D263F05CF92A}"/>
                </a:ext>
              </a:extLst>
            </p:cNvPr>
            <p:cNvCxnSpPr>
              <a:cxnSpLocks/>
            </p:cNvCxnSpPr>
            <p:nvPr/>
          </p:nvCxnSpPr>
          <p:spPr>
            <a:xfrm flipV="1">
              <a:off x="6220265" y="2119921"/>
              <a:ext cx="4092179" cy="4829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6" name="Textfeld 85">
            <a:extLst>
              <a:ext uri="{FF2B5EF4-FFF2-40B4-BE49-F238E27FC236}">
                <a16:creationId xmlns:a16="http://schemas.microsoft.com/office/drawing/2014/main" id="{79DDCBF1-CE1B-4EF6-96FE-7500A8756ABE}"/>
              </a:ext>
            </a:extLst>
          </p:cNvPr>
          <p:cNvSpPr txBox="1"/>
          <p:nvPr/>
        </p:nvSpPr>
        <p:spPr>
          <a:xfrm flipH="1">
            <a:off x="825181" y="5301656"/>
            <a:ext cx="2240642" cy="965921"/>
          </a:xfrm>
          <a:prstGeom prst="rect">
            <a:avLst/>
          </a:prstGeom>
          <a:noFill/>
          <a:ln w="6350">
            <a:noFill/>
          </a:ln>
        </p:spPr>
        <p:txBody>
          <a:bodyPr wrap="square" lIns="108000" tIns="72000" rIns="108000" bIns="72000" rtlCol="0" anchor="ctr">
            <a:noAutofit/>
          </a:bodyPr>
          <a:lstStyle/>
          <a:p>
            <a:pPr marL="105750">
              <a:buClr>
                <a:schemeClr val="accent1"/>
              </a:buClr>
            </a:pPr>
            <a:r>
              <a:rPr lang="de-DE" sz="1200" dirty="0">
                <a:solidFill>
                  <a:schemeClr val="tx1"/>
                </a:solidFill>
              </a:rPr>
              <a:t>Community </a:t>
            </a:r>
            <a:r>
              <a:rPr lang="de-DE" sz="1200" dirty="0" err="1">
                <a:solidFill>
                  <a:schemeClr val="tx1"/>
                </a:solidFill>
              </a:rPr>
              <a:t>investment</a:t>
            </a:r>
            <a:r>
              <a:rPr lang="de-DE" sz="1200" dirty="0">
                <a:solidFill>
                  <a:schemeClr val="tx1"/>
                </a:solidFill>
              </a:rPr>
              <a:t> </a:t>
            </a:r>
            <a:r>
              <a:rPr lang="de-DE" sz="1200" dirty="0" err="1">
                <a:solidFill>
                  <a:schemeClr val="tx1"/>
                </a:solidFill>
              </a:rPr>
              <a:t>options</a:t>
            </a:r>
            <a:r>
              <a:rPr lang="de-DE" sz="1200" dirty="0">
                <a:solidFill>
                  <a:schemeClr val="tx1"/>
                </a:solidFill>
              </a:rPr>
              <a:t> </a:t>
            </a:r>
            <a:r>
              <a:rPr lang="de-DE" sz="1200" dirty="0" err="1">
                <a:solidFill>
                  <a:schemeClr val="tx1"/>
                </a:solidFill>
              </a:rPr>
              <a:t>with</a:t>
            </a:r>
            <a:r>
              <a:rPr lang="de-DE" sz="1200" dirty="0">
                <a:solidFill>
                  <a:schemeClr val="tx1"/>
                </a:solidFill>
              </a:rPr>
              <a:t> t</a:t>
            </a:r>
            <a:r>
              <a:rPr lang="en-GB" sz="1200" dirty="0" err="1">
                <a:solidFill>
                  <a:schemeClr val="tx1"/>
                </a:solidFill>
              </a:rPr>
              <a:t>ailor</a:t>
            </a:r>
            <a:r>
              <a:rPr lang="en-GB" sz="1200" dirty="0">
                <a:solidFill>
                  <a:schemeClr val="tx1"/>
                </a:solidFill>
              </a:rPr>
              <a:t>-made development and cooperation models</a:t>
            </a:r>
          </a:p>
        </p:txBody>
      </p:sp>
      <p:grpSp>
        <p:nvGrpSpPr>
          <p:cNvPr id="92" name="Gruppieren 91">
            <a:extLst>
              <a:ext uri="{FF2B5EF4-FFF2-40B4-BE49-F238E27FC236}">
                <a16:creationId xmlns:a16="http://schemas.microsoft.com/office/drawing/2014/main" id="{72A4042B-8F66-4C7A-B68A-10E140179624}"/>
              </a:ext>
            </a:extLst>
          </p:cNvPr>
          <p:cNvGrpSpPr/>
          <p:nvPr/>
        </p:nvGrpSpPr>
        <p:grpSpPr>
          <a:xfrm flipV="1">
            <a:off x="3476712" y="3993374"/>
            <a:ext cx="2505745" cy="1100242"/>
            <a:chOff x="6220265" y="2168213"/>
            <a:chExt cx="3971391" cy="2628726"/>
          </a:xfrm>
        </p:grpSpPr>
        <p:cxnSp>
          <p:nvCxnSpPr>
            <p:cNvPr id="94" name="Gerader Verbinder 93">
              <a:extLst>
                <a:ext uri="{FF2B5EF4-FFF2-40B4-BE49-F238E27FC236}">
                  <a16:creationId xmlns:a16="http://schemas.microsoft.com/office/drawing/2014/main" id="{0569BBAF-92C3-4C27-9045-6B31EB67ABC1}"/>
                </a:ext>
              </a:extLst>
            </p:cNvPr>
            <p:cNvCxnSpPr>
              <a:cxnSpLocks/>
            </p:cNvCxnSpPr>
            <p:nvPr/>
          </p:nvCxnSpPr>
          <p:spPr>
            <a:xfrm flipV="1">
              <a:off x="6223945" y="2171861"/>
              <a:ext cx="0" cy="26250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CBD5BEFC-5CB7-41E3-B6E9-6A723E4C8CA8}"/>
                </a:ext>
              </a:extLst>
            </p:cNvPr>
            <p:cNvCxnSpPr>
              <a:cxnSpLocks/>
            </p:cNvCxnSpPr>
            <p:nvPr/>
          </p:nvCxnSpPr>
          <p:spPr>
            <a:xfrm>
              <a:off x="6220265" y="2168213"/>
              <a:ext cx="397139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93" name="Textfeld 92">
            <a:extLst>
              <a:ext uri="{FF2B5EF4-FFF2-40B4-BE49-F238E27FC236}">
                <a16:creationId xmlns:a16="http://schemas.microsoft.com/office/drawing/2014/main" id="{82846627-191A-4950-BA0A-3CE40B7EFFA3}"/>
              </a:ext>
            </a:extLst>
          </p:cNvPr>
          <p:cNvSpPr txBox="1"/>
          <p:nvPr/>
        </p:nvSpPr>
        <p:spPr>
          <a:xfrm>
            <a:off x="3647793" y="4385330"/>
            <a:ext cx="1653894" cy="694632"/>
          </a:xfrm>
          <a:prstGeom prst="rect">
            <a:avLst/>
          </a:prstGeom>
          <a:noFill/>
          <a:ln w="6350">
            <a:noFill/>
          </a:ln>
        </p:spPr>
        <p:txBody>
          <a:bodyPr wrap="square" lIns="108000" tIns="72000" rIns="108000" bIns="72000" rtlCol="0" anchor="ctr">
            <a:noAutofit/>
          </a:bodyPr>
          <a:lstStyle/>
          <a:p>
            <a:pPr marL="105750" algn="r">
              <a:buClr>
                <a:schemeClr val="accent1"/>
              </a:buClr>
            </a:pPr>
            <a:r>
              <a:rPr lang="en-GB" sz="1200" b="0" dirty="0">
                <a:solidFill>
                  <a:schemeClr val="tx1"/>
                </a:solidFill>
              </a:rPr>
              <a:t>Agri PV, </a:t>
            </a:r>
            <a:br>
              <a:rPr lang="en-GB" sz="1200" b="0" dirty="0">
                <a:solidFill>
                  <a:schemeClr val="tx1"/>
                </a:solidFill>
              </a:rPr>
            </a:br>
            <a:r>
              <a:rPr lang="en-GB" sz="1200" b="0" dirty="0">
                <a:solidFill>
                  <a:schemeClr val="tx1"/>
                </a:solidFill>
              </a:rPr>
              <a:t>joint use of agricultural land</a:t>
            </a:r>
          </a:p>
        </p:txBody>
      </p:sp>
      <p:grpSp>
        <p:nvGrpSpPr>
          <p:cNvPr id="97" name="Gruppieren 96">
            <a:extLst>
              <a:ext uri="{FF2B5EF4-FFF2-40B4-BE49-F238E27FC236}">
                <a16:creationId xmlns:a16="http://schemas.microsoft.com/office/drawing/2014/main" id="{723404B7-6E57-46F2-8E89-93F19C57ADB7}"/>
              </a:ext>
            </a:extLst>
          </p:cNvPr>
          <p:cNvGrpSpPr/>
          <p:nvPr/>
        </p:nvGrpSpPr>
        <p:grpSpPr>
          <a:xfrm flipH="1" flipV="1">
            <a:off x="440625" y="4018337"/>
            <a:ext cx="2438110" cy="1100242"/>
            <a:chOff x="6220265" y="2168213"/>
            <a:chExt cx="3971400" cy="2628726"/>
          </a:xfrm>
        </p:grpSpPr>
        <p:cxnSp>
          <p:nvCxnSpPr>
            <p:cNvPr id="99" name="Gerader Verbinder 98">
              <a:extLst>
                <a:ext uri="{FF2B5EF4-FFF2-40B4-BE49-F238E27FC236}">
                  <a16:creationId xmlns:a16="http://schemas.microsoft.com/office/drawing/2014/main" id="{87E41756-4F94-4708-883C-EE8CE0D24584}"/>
                </a:ext>
              </a:extLst>
            </p:cNvPr>
            <p:cNvCxnSpPr>
              <a:cxnSpLocks/>
            </p:cNvCxnSpPr>
            <p:nvPr/>
          </p:nvCxnSpPr>
          <p:spPr>
            <a:xfrm flipV="1">
              <a:off x="6223945" y="2171861"/>
              <a:ext cx="0" cy="26250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40E7840-1E5A-4315-822D-080A77C4D90C}"/>
                </a:ext>
              </a:extLst>
            </p:cNvPr>
            <p:cNvCxnSpPr>
              <a:cxnSpLocks/>
            </p:cNvCxnSpPr>
            <p:nvPr/>
          </p:nvCxnSpPr>
          <p:spPr>
            <a:xfrm flipV="1">
              <a:off x="6220265" y="2168213"/>
              <a:ext cx="39714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pic>
        <p:nvPicPr>
          <p:cNvPr id="103" name="Grafik 102">
            <a:extLst>
              <a:ext uri="{FF2B5EF4-FFF2-40B4-BE49-F238E27FC236}">
                <a16:creationId xmlns:a16="http://schemas.microsoft.com/office/drawing/2014/main" id="{BC242E97-3CC5-43DA-89BC-1BECD67C064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50399" y="4553471"/>
            <a:ext cx="383523" cy="345171"/>
          </a:xfrm>
          <a:prstGeom prst="rect">
            <a:avLst/>
          </a:prstGeom>
        </p:spPr>
      </p:pic>
      <p:pic>
        <p:nvPicPr>
          <p:cNvPr id="6" name="Grafik 5">
            <a:extLst>
              <a:ext uri="{FF2B5EF4-FFF2-40B4-BE49-F238E27FC236}">
                <a16:creationId xmlns:a16="http://schemas.microsoft.com/office/drawing/2014/main" id="{9B72C215-1E1D-429F-B0D6-BAC05CD141C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50122" y="4578871"/>
            <a:ext cx="337006" cy="358292"/>
          </a:xfrm>
          <a:prstGeom prst="rect">
            <a:avLst/>
          </a:prstGeom>
        </p:spPr>
      </p:pic>
      <p:sp>
        <p:nvSpPr>
          <p:cNvPr id="21" name="Rechteck 20">
            <a:extLst>
              <a:ext uri="{FF2B5EF4-FFF2-40B4-BE49-F238E27FC236}">
                <a16:creationId xmlns:a16="http://schemas.microsoft.com/office/drawing/2014/main" id="{37540EF2-68D0-45A7-9802-A5BEA1ACAD91}"/>
              </a:ext>
            </a:extLst>
          </p:cNvPr>
          <p:cNvSpPr/>
          <p:nvPr/>
        </p:nvSpPr>
        <p:spPr>
          <a:xfrm>
            <a:off x="2131071" y="3797300"/>
            <a:ext cx="2435734" cy="67540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2400" b="1" dirty="0">
                <a:solidFill>
                  <a:schemeClr val="accent1"/>
                </a:solidFill>
              </a:rPr>
              <a:t>PROJECTS</a:t>
            </a:r>
            <a:endParaRPr lang="de-DE" sz="2000" b="1" dirty="0">
              <a:solidFill>
                <a:schemeClr val="accent1"/>
              </a:solidFill>
            </a:endParaRPr>
          </a:p>
        </p:txBody>
      </p:sp>
      <p:pic>
        <p:nvPicPr>
          <p:cNvPr id="3" name="Grafik 2">
            <a:extLst>
              <a:ext uri="{FF2B5EF4-FFF2-40B4-BE49-F238E27FC236}">
                <a16:creationId xmlns:a16="http://schemas.microsoft.com/office/drawing/2014/main" id="{6C955C1F-FDF8-E244-6FD5-4227E351F17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5401251" y="5789851"/>
            <a:ext cx="540908" cy="314075"/>
          </a:xfrm>
          <a:prstGeom prst="rect">
            <a:avLst/>
          </a:prstGeom>
        </p:spPr>
      </p:pic>
      <p:sp>
        <p:nvSpPr>
          <p:cNvPr id="5" name="TextBox 4">
            <a:extLst>
              <a:ext uri="{FF2B5EF4-FFF2-40B4-BE49-F238E27FC236}">
                <a16:creationId xmlns:a16="http://schemas.microsoft.com/office/drawing/2014/main" id="{EBF6AE38-89EA-70BF-A70A-3060C85DCDF5}"/>
              </a:ext>
            </a:extLst>
          </p:cNvPr>
          <p:cNvSpPr txBox="1"/>
          <p:nvPr/>
        </p:nvSpPr>
        <p:spPr>
          <a:xfrm>
            <a:off x="4081428" y="2128032"/>
            <a:ext cx="8162854" cy="369332"/>
          </a:xfrm>
          <a:prstGeom prst="rect">
            <a:avLst/>
          </a:prstGeom>
          <a:noFill/>
        </p:spPr>
        <p:txBody>
          <a:bodyPr wrap="square">
            <a:spAutoFit/>
          </a:bodyPr>
          <a:lstStyle/>
          <a:p>
            <a:r>
              <a:rPr lang="en-US" dirty="0"/>
              <a:t> </a:t>
            </a:r>
          </a:p>
        </p:txBody>
      </p:sp>
    </p:spTree>
    <p:extLst>
      <p:ext uri="{BB962C8B-B14F-4D97-AF65-F5344CB8AC3E}">
        <p14:creationId xmlns:p14="http://schemas.microsoft.com/office/powerpoint/2010/main" val="46275487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F1A09C-1BEE-4A31-B9DC-FBA661C37461}"/>
              </a:ext>
            </a:extLst>
          </p:cNvPr>
          <p:cNvSpPr>
            <a:spLocks noGrp="1"/>
          </p:cNvSpPr>
          <p:nvPr>
            <p:ph type="title"/>
          </p:nvPr>
        </p:nvSpPr>
        <p:spPr/>
        <p:txBody>
          <a:bodyPr/>
          <a:lstStyle/>
          <a:p>
            <a:r>
              <a:rPr lang="en-GB" dirty="0"/>
              <a:t>BayWa r.e. in Romania</a:t>
            </a:r>
          </a:p>
        </p:txBody>
      </p:sp>
      <p:sp>
        <p:nvSpPr>
          <p:cNvPr id="28" name="Textplatzhalter 27">
            <a:extLst>
              <a:ext uri="{FF2B5EF4-FFF2-40B4-BE49-F238E27FC236}">
                <a16:creationId xmlns:a16="http://schemas.microsoft.com/office/drawing/2014/main" id="{C7C6EC76-1FB1-4C9D-8D3C-404C717449CE}"/>
              </a:ext>
            </a:extLst>
          </p:cNvPr>
          <p:cNvSpPr>
            <a:spLocks noGrp="1"/>
          </p:cNvSpPr>
          <p:nvPr>
            <p:ph type="body" sz="quarter" idx="22"/>
          </p:nvPr>
        </p:nvSpPr>
        <p:spPr>
          <a:xfrm>
            <a:off x="3450168" y="1267114"/>
            <a:ext cx="2520000" cy="971550"/>
          </a:xfrm>
        </p:spPr>
        <p:txBody>
          <a:bodyPr/>
          <a:lstStyle/>
          <a:p>
            <a:r>
              <a:rPr lang="en-GB" sz="5400" dirty="0">
                <a:solidFill>
                  <a:schemeClr val="accent2"/>
                </a:solidFill>
              </a:rPr>
              <a:t>10</a:t>
            </a:r>
          </a:p>
        </p:txBody>
      </p:sp>
      <p:sp>
        <p:nvSpPr>
          <p:cNvPr id="30" name="Inhaltsplatzhalter 2">
            <a:extLst>
              <a:ext uri="{FF2B5EF4-FFF2-40B4-BE49-F238E27FC236}">
                <a16:creationId xmlns:a16="http://schemas.microsoft.com/office/drawing/2014/main" id="{13202F7C-EC2E-4028-B927-05DCAD9618F4}"/>
              </a:ext>
            </a:extLst>
          </p:cNvPr>
          <p:cNvSpPr txBox="1">
            <a:spLocks/>
          </p:cNvSpPr>
          <p:nvPr/>
        </p:nvSpPr>
        <p:spPr bwMode="gray">
          <a:xfrm>
            <a:off x="3423534" y="1224840"/>
            <a:ext cx="2520000" cy="26964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r>
              <a:rPr lang="en-GB" dirty="0"/>
              <a:t>Total employees</a:t>
            </a:r>
          </a:p>
        </p:txBody>
      </p:sp>
      <p:sp>
        <p:nvSpPr>
          <p:cNvPr id="34" name="Textplatzhalter 27">
            <a:extLst>
              <a:ext uri="{FF2B5EF4-FFF2-40B4-BE49-F238E27FC236}">
                <a16:creationId xmlns:a16="http://schemas.microsoft.com/office/drawing/2014/main" id="{840D80CC-5F46-4CA9-985D-41A806C2AA2E}"/>
              </a:ext>
            </a:extLst>
          </p:cNvPr>
          <p:cNvSpPr txBox="1">
            <a:spLocks/>
          </p:cNvSpPr>
          <p:nvPr/>
        </p:nvSpPr>
        <p:spPr bwMode="gray">
          <a:xfrm>
            <a:off x="414927" y="1267114"/>
            <a:ext cx="2656406" cy="97155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6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6600" b="1" kern="1200">
                <a:solidFill>
                  <a:schemeClr val="accent1"/>
                </a:solidFill>
                <a:latin typeface="+mn-lt"/>
                <a:ea typeface="+mn-ea"/>
                <a:cs typeface="+mn-cs"/>
              </a:defRPr>
            </a:lvl2pPr>
            <a:lvl3pPr marL="0" indent="0" algn="l" defTabSz="914400" rtl="0" eaLnBrk="1" latinLnBrk="0" hangingPunct="1">
              <a:lnSpc>
                <a:spcPct val="100000"/>
              </a:lnSpc>
              <a:spcBef>
                <a:spcPts val="0"/>
              </a:spcBef>
              <a:spcAft>
                <a:spcPts val="0"/>
              </a:spcAft>
              <a:buClr>
                <a:schemeClr val="accent1"/>
              </a:buClr>
              <a:buSzPct val="90000"/>
              <a:buFont typeface="Wingdings" panose="05000000000000000000" pitchFamily="2" charset="2"/>
              <a:buNone/>
              <a:defRPr sz="6600" b="1"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6pPr>
            <a:lvl7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8pPr>
            <a:lvl9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9pPr>
          </a:lstStyle>
          <a:p>
            <a:r>
              <a:rPr lang="en-GB" sz="5400" dirty="0">
                <a:solidFill>
                  <a:schemeClr val="accent2"/>
                </a:solidFill>
              </a:rPr>
              <a:t>2022</a:t>
            </a:r>
            <a:endParaRPr lang="en-US" dirty="0">
              <a:solidFill>
                <a:schemeClr val="accent2"/>
              </a:solidFill>
            </a:endParaRPr>
          </a:p>
        </p:txBody>
      </p:sp>
      <p:sp>
        <p:nvSpPr>
          <p:cNvPr id="35" name="Inhaltsplatzhalter 2">
            <a:extLst>
              <a:ext uri="{FF2B5EF4-FFF2-40B4-BE49-F238E27FC236}">
                <a16:creationId xmlns:a16="http://schemas.microsoft.com/office/drawing/2014/main" id="{4EA2A4AF-70CD-4841-9C9E-C31C0E38D2C0}"/>
              </a:ext>
            </a:extLst>
          </p:cNvPr>
          <p:cNvSpPr txBox="1">
            <a:spLocks/>
          </p:cNvSpPr>
          <p:nvPr/>
        </p:nvSpPr>
        <p:spPr bwMode="gray">
          <a:xfrm>
            <a:off x="414927" y="1225180"/>
            <a:ext cx="2583213" cy="2603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r>
              <a:rPr lang="en-GB" dirty="0"/>
              <a:t>Established in</a:t>
            </a:r>
          </a:p>
        </p:txBody>
      </p:sp>
      <p:cxnSp>
        <p:nvCxnSpPr>
          <p:cNvPr id="22" name="Connettore diritto 21">
            <a:extLst>
              <a:ext uri="{FF2B5EF4-FFF2-40B4-BE49-F238E27FC236}">
                <a16:creationId xmlns:a16="http://schemas.microsoft.com/office/drawing/2014/main" id="{01A512D6-0C93-4F2B-9318-34154479AEB3}"/>
              </a:ext>
            </a:extLst>
          </p:cNvPr>
          <p:cNvCxnSpPr/>
          <p:nvPr/>
        </p:nvCxnSpPr>
        <p:spPr>
          <a:xfrm>
            <a:off x="6238069" y="2245203"/>
            <a:ext cx="265640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Connettore diritto 30">
            <a:extLst>
              <a:ext uri="{FF2B5EF4-FFF2-40B4-BE49-F238E27FC236}">
                <a16:creationId xmlns:a16="http://schemas.microsoft.com/office/drawing/2014/main" id="{6251155F-70CB-4BCD-9A84-70A21D2163EF}"/>
              </a:ext>
            </a:extLst>
          </p:cNvPr>
          <p:cNvCxnSpPr/>
          <p:nvPr/>
        </p:nvCxnSpPr>
        <p:spPr>
          <a:xfrm>
            <a:off x="3389245" y="2238639"/>
            <a:ext cx="265640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Connettore diritto 31">
            <a:extLst>
              <a:ext uri="{FF2B5EF4-FFF2-40B4-BE49-F238E27FC236}">
                <a16:creationId xmlns:a16="http://schemas.microsoft.com/office/drawing/2014/main" id="{BCEEBD73-2A56-479C-8D96-88FB3B23750D}"/>
              </a:ext>
            </a:extLst>
          </p:cNvPr>
          <p:cNvCxnSpPr/>
          <p:nvPr/>
        </p:nvCxnSpPr>
        <p:spPr>
          <a:xfrm>
            <a:off x="406606" y="2237273"/>
            <a:ext cx="265640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 name="Segnaposto numero diapositiva 3">
            <a:extLst>
              <a:ext uri="{FF2B5EF4-FFF2-40B4-BE49-F238E27FC236}">
                <a16:creationId xmlns:a16="http://schemas.microsoft.com/office/drawing/2014/main" id="{94DB2F74-32FA-4ECA-A7A3-99EE90DE86AD}"/>
              </a:ext>
            </a:extLst>
          </p:cNvPr>
          <p:cNvSpPr>
            <a:spLocks noGrp="1"/>
          </p:cNvSpPr>
          <p:nvPr>
            <p:ph type="sldNum" sz="quarter" idx="12"/>
          </p:nvPr>
        </p:nvSpPr>
        <p:spPr>
          <a:xfrm>
            <a:off x="11568632" y="6561368"/>
            <a:ext cx="216000" cy="180000"/>
          </a:xfrm>
        </p:spPr>
        <p:txBody>
          <a:bodyPr/>
          <a:lstStyle/>
          <a:p>
            <a:fld id="{3B140A39-527A-45CF-A911-B921024B92E6}" type="slidenum">
              <a:rPr lang="en-GB" noProof="0" smtClean="0"/>
              <a:t>5</a:t>
            </a:fld>
            <a:endParaRPr lang="en-GB" noProof="0"/>
          </a:p>
        </p:txBody>
      </p:sp>
      <p:sp>
        <p:nvSpPr>
          <p:cNvPr id="12" name="Textplatzhalter 27">
            <a:extLst>
              <a:ext uri="{FF2B5EF4-FFF2-40B4-BE49-F238E27FC236}">
                <a16:creationId xmlns:a16="http://schemas.microsoft.com/office/drawing/2014/main" id="{3244811F-A63B-9213-6415-9A5D58C0151D}"/>
              </a:ext>
            </a:extLst>
          </p:cNvPr>
          <p:cNvSpPr txBox="1">
            <a:spLocks/>
          </p:cNvSpPr>
          <p:nvPr/>
        </p:nvSpPr>
        <p:spPr bwMode="gray">
          <a:xfrm>
            <a:off x="6215508" y="1295176"/>
            <a:ext cx="2910525" cy="971550"/>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6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6600" b="1" kern="1200">
                <a:solidFill>
                  <a:schemeClr val="accent1"/>
                </a:solidFill>
                <a:latin typeface="+mn-lt"/>
                <a:ea typeface="+mn-ea"/>
                <a:cs typeface="+mn-cs"/>
              </a:defRPr>
            </a:lvl2pPr>
            <a:lvl3pPr marL="0" indent="0" algn="l" defTabSz="914400" rtl="0" eaLnBrk="1" latinLnBrk="0" hangingPunct="1">
              <a:lnSpc>
                <a:spcPct val="100000"/>
              </a:lnSpc>
              <a:spcBef>
                <a:spcPts val="0"/>
              </a:spcBef>
              <a:spcAft>
                <a:spcPts val="0"/>
              </a:spcAft>
              <a:buClr>
                <a:schemeClr val="accent1"/>
              </a:buClr>
              <a:buSzPct val="90000"/>
              <a:buFont typeface="Wingdings" panose="05000000000000000000" pitchFamily="2" charset="2"/>
              <a:buNone/>
              <a:defRPr sz="6600" b="1"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6pPr>
            <a:lvl7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8pPr>
            <a:lvl9pPr marL="0" indent="0" algn="l" defTabSz="914400" rtl="0" eaLnBrk="1" latinLnBrk="0" hangingPunct="1">
              <a:lnSpc>
                <a:spcPct val="100000"/>
              </a:lnSpc>
              <a:spcBef>
                <a:spcPts val="0"/>
              </a:spcBef>
              <a:spcAft>
                <a:spcPts val="0"/>
              </a:spcAft>
              <a:buFont typeface="Wingdings" panose="05000000000000000000" pitchFamily="2" charset="2"/>
              <a:buNone/>
              <a:defRPr sz="6600" b="1" kern="1200">
                <a:solidFill>
                  <a:schemeClr val="accent1"/>
                </a:solidFill>
                <a:latin typeface="+mn-lt"/>
                <a:ea typeface="+mn-ea"/>
                <a:cs typeface="+mn-cs"/>
              </a:defRPr>
            </a:lvl9pPr>
          </a:lstStyle>
          <a:p>
            <a:r>
              <a:rPr lang="en-GB" sz="5400" dirty="0">
                <a:solidFill>
                  <a:schemeClr val="accent2"/>
                </a:solidFill>
              </a:rPr>
              <a:t>&gt;1 GW</a:t>
            </a:r>
          </a:p>
        </p:txBody>
      </p:sp>
      <p:sp>
        <p:nvSpPr>
          <p:cNvPr id="3" name="Inhaltsplatzhalter 2">
            <a:extLst>
              <a:ext uri="{FF2B5EF4-FFF2-40B4-BE49-F238E27FC236}">
                <a16:creationId xmlns:a16="http://schemas.microsoft.com/office/drawing/2014/main" id="{26871DE3-BC8E-FEF0-1C49-FDA0E0902283}"/>
              </a:ext>
            </a:extLst>
          </p:cNvPr>
          <p:cNvSpPr txBox="1">
            <a:spLocks/>
          </p:cNvSpPr>
          <p:nvPr/>
        </p:nvSpPr>
        <p:spPr bwMode="gray">
          <a:xfrm>
            <a:off x="6220312" y="1244749"/>
            <a:ext cx="2723730" cy="26964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r>
              <a:rPr lang="en-GB" dirty="0"/>
              <a:t>Total pipeline</a:t>
            </a:r>
            <a:endParaRPr lang="en-GB" sz="1400" dirty="0"/>
          </a:p>
          <a:p>
            <a:endParaRPr lang="en-GB" sz="1800" dirty="0"/>
          </a:p>
          <a:p>
            <a:endParaRPr lang="en-GB" sz="2000" dirty="0"/>
          </a:p>
        </p:txBody>
      </p:sp>
      <p:sp>
        <p:nvSpPr>
          <p:cNvPr id="19" name="Freeform 34">
            <a:extLst>
              <a:ext uri="{FF2B5EF4-FFF2-40B4-BE49-F238E27FC236}">
                <a16:creationId xmlns:a16="http://schemas.microsoft.com/office/drawing/2014/main" id="{1FFC0C52-B1A3-D825-94CE-C2FE18E085BC}"/>
              </a:ext>
            </a:extLst>
          </p:cNvPr>
          <p:cNvSpPr>
            <a:spLocks noChangeAspect="1"/>
          </p:cNvSpPr>
          <p:nvPr/>
        </p:nvSpPr>
        <p:spPr>
          <a:xfrm>
            <a:off x="8699196" y="4039746"/>
            <a:ext cx="3009474" cy="2201104"/>
          </a:xfrm>
          <a:custGeom>
            <a:avLst/>
            <a:gdLst>
              <a:gd name="f0" fmla="val 10800000"/>
              <a:gd name="f1" fmla="val 5400000"/>
              <a:gd name="f2" fmla="val 360"/>
              <a:gd name="f3" fmla="val 180"/>
              <a:gd name="f4" fmla="val w"/>
              <a:gd name="f5" fmla="val h"/>
              <a:gd name="f6" fmla="val 0"/>
              <a:gd name="f7" fmla="val 525"/>
              <a:gd name="f8" fmla="val 384"/>
              <a:gd name="f9" fmla="val 255"/>
              <a:gd name="f10" fmla="val 252"/>
              <a:gd name="f11" fmla="val 515"/>
              <a:gd name="f12" fmla="val 249"/>
              <a:gd name="f13" fmla="val 512"/>
              <a:gd name="f14" fmla="val 247"/>
              <a:gd name="f15" fmla="val 507"/>
              <a:gd name="f16" fmla="val 244"/>
              <a:gd name="f17" fmla="val 503"/>
              <a:gd name="f18" fmla="val 241"/>
              <a:gd name="f19" fmla="val 496"/>
              <a:gd name="f20" fmla="val 243"/>
              <a:gd name="f21" fmla="val 493"/>
              <a:gd name="f22" fmla="val 491"/>
              <a:gd name="f23" fmla="val 246"/>
              <a:gd name="f24" fmla="val 490"/>
              <a:gd name="f25" fmla="val 487"/>
              <a:gd name="f26" fmla="val 483"/>
              <a:gd name="f27" fmla="val 250"/>
              <a:gd name="f28" fmla="val 478"/>
              <a:gd name="f29" fmla="val 476"/>
              <a:gd name="f30" fmla="val 474"/>
              <a:gd name="f31" fmla="val 472"/>
              <a:gd name="f32" fmla="val 470"/>
              <a:gd name="f33" fmla="val 251"/>
              <a:gd name="f34" fmla="val 468"/>
              <a:gd name="f35" fmla="val 467"/>
              <a:gd name="f36" fmla="val 466"/>
              <a:gd name="f37" fmla="val 256"/>
              <a:gd name="f38" fmla="val 463"/>
              <a:gd name="f39" fmla="val 259"/>
              <a:gd name="f40" fmla="val 462"/>
              <a:gd name="f41" fmla="val 257"/>
              <a:gd name="f42" fmla="val 459"/>
              <a:gd name="f43" fmla="val 457"/>
              <a:gd name="f44" fmla="val 254"/>
              <a:gd name="f45" fmla="val 455"/>
              <a:gd name="f46" fmla="val 253"/>
              <a:gd name="f47" fmla="val 453"/>
              <a:gd name="f48" fmla="val 451"/>
              <a:gd name="f49" fmla="val 445"/>
              <a:gd name="f50" fmla="val 443"/>
              <a:gd name="f51" fmla="val 248"/>
              <a:gd name="f52" fmla="val 438"/>
              <a:gd name="f53" fmla="val 239"/>
              <a:gd name="f54" fmla="val 437"/>
              <a:gd name="f55" fmla="val 433"/>
              <a:gd name="f56" fmla="val 234"/>
              <a:gd name="f57" fmla="val 428"/>
              <a:gd name="f58" fmla="val 230"/>
              <a:gd name="f59" fmla="val 432"/>
              <a:gd name="f60" fmla="val 223"/>
              <a:gd name="f61" fmla="val 219"/>
              <a:gd name="f62" fmla="val 211"/>
              <a:gd name="f63" fmla="val 431"/>
              <a:gd name="f64" fmla="val 208"/>
              <a:gd name="f65" fmla="val 429"/>
              <a:gd name="f66" fmla="val 204"/>
              <a:gd name="f67" fmla="val 430"/>
              <a:gd name="f68" fmla="val 191"/>
              <a:gd name="f69" fmla="val 185"/>
              <a:gd name="f70" fmla="val 175"/>
              <a:gd name="f71" fmla="val 171"/>
              <a:gd name="f72" fmla="val 161"/>
              <a:gd name="f73" fmla="val 159"/>
              <a:gd name="f74" fmla="val 439"/>
              <a:gd name="f75" fmla="val 151"/>
              <a:gd name="f76" fmla="val 148"/>
              <a:gd name="f77" fmla="val 436"/>
              <a:gd name="f78" fmla="val 146"/>
              <a:gd name="f79" fmla="val 141"/>
              <a:gd name="f80" fmla="val 138"/>
              <a:gd name="f81" fmla="val 136"/>
              <a:gd name="f82" fmla="val 434"/>
              <a:gd name="f83" fmla="val 130"/>
              <a:gd name="f84" fmla="val 128"/>
              <a:gd name="f85" fmla="val 125"/>
              <a:gd name="f86" fmla="val 121"/>
              <a:gd name="f87" fmla="val 427"/>
              <a:gd name="f88" fmla="val 424"/>
              <a:gd name="f89" fmla="val 119"/>
              <a:gd name="f90" fmla="val 422"/>
              <a:gd name="f91" fmla="val 115"/>
              <a:gd name="f92" fmla="val 420"/>
              <a:gd name="f93" fmla="val 112"/>
              <a:gd name="f94" fmla="val 421"/>
              <a:gd name="f95" fmla="val 109"/>
              <a:gd name="f96" fmla="val 106"/>
              <a:gd name="f97" fmla="val 101"/>
              <a:gd name="f98" fmla="val 419"/>
              <a:gd name="f99" fmla="val 96"/>
              <a:gd name="f100" fmla="val 416"/>
              <a:gd name="f101" fmla="val 92"/>
              <a:gd name="f102" fmla="val 414"/>
              <a:gd name="f103" fmla="val 91"/>
              <a:gd name="f104" fmla="val 90"/>
              <a:gd name="f105" fmla="val 412"/>
              <a:gd name="f106" fmla="val 87"/>
              <a:gd name="f107" fmla="val 411"/>
              <a:gd name="f108" fmla="val 86"/>
              <a:gd name="f109" fmla="val 409"/>
              <a:gd name="f110" fmla="val 85"/>
              <a:gd name="f111" fmla="val 408"/>
              <a:gd name="f112" fmla="val 84"/>
              <a:gd name="f113" fmla="val 407"/>
              <a:gd name="f114" fmla="val 83"/>
              <a:gd name="f115" fmla="val 406"/>
              <a:gd name="f116" fmla="val 81"/>
              <a:gd name="f117" fmla="val 405"/>
              <a:gd name="f118" fmla="val 79"/>
              <a:gd name="f119" fmla="val 403"/>
              <a:gd name="f120" fmla="val 77"/>
              <a:gd name="f121" fmla="val 73"/>
              <a:gd name="f122" fmla="val 401"/>
              <a:gd name="f123" fmla="val 72"/>
              <a:gd name="f124" fmla="val 399"/>
              <a:gd name="f125" fmla="val 70"/>
              <a:gd name="f126" fmla="val 396"/>
              <a:gd name="f127" fmla="val 394"/>
              <a:gd name="f128" fmla="val 68"/>
              <a:gd name="f129" fmla="val 395"/>
              <a:gd name="f130" fmla="val 67"/>
              <a:gd name="f131" fmla="val 66"/>
              <a:gd name="f132" fmla="val 393"/>
              <a:gd name="f133" fmla="val 392"/>
              <a:gd name="f134" fmla="val 65"/>
              <a:gd name="f135" fmla="val 391"/>
              <a:gd name="f136" fmla="val 64"/>
              <a:gd name="f137" fmla="val 63"/>
              <a:gd name="f138" fmla="val 62"/>
              <a:gd name="f139" fmla="val 390"/>
              <a:gd name="f140" fmla="val 60"/>
              <a:gd name="f141" fmla="val 389"/>
              <a:gd name="f142" fmla="val 59"/>
              <a:gd name="f143" fmla="val 58"/>
              <a:gd name="f144" fmla="val 57"/>
              <a:gd name="f145" fmla="val 53"/>
              <a:gd name="f146" fmla="val 49"/>
              <a:gd name="f147" fmla="val 388"/>
              <a:gd name="f148" fmla="val 46"/>
              <a:gd name="f149" fmla="val 386"/>
              <a:gd name="f150" fmla="val 42"/>
              <a:gd name="f151" fmla="val 383"/>
              <a:gd name="f152" fmla="val 40"/>
              <a:gd name="f153" fmla="val 381"/>
              <a:gd name="f154" fmla="val 37"/>
              <a:gd name="f155" fmla="val 380"/>
              <a:gd name="f156" fmla="val 36"/>
              <a:gd name="f157" fmla="val 34"/>
              <a:gd name="f158" fmla="val 379"/>
              <a:gd name="f159" fmla="val 32"/>
              <a:gd name="f160" fmla="val 378"/>
              <a:gd name="f161" fmla="val 27"/>
              <a:gd name="f162" fmla="val 374"/>
              <a:gd name="f163" fmla="val 26"/>
              <a:gd name="f164" fmla="val 372"/>
              <a:gd name="f165" fmla="val 22"/>
              <a:gd name="f166" fmla="val 369"/>
              <a:gd name="f167" fmla="val 19"/>
              <a:gd name="f168" fmla="val 367"/>
              <a:gd name="f169" fmla="val 17"/>
              <a:gd name="f170" fmla="val 365"/>
              <a:gd name="f171" fmla="val 14"/>
              <a:gd name="f172" fmla="val 362"/>
              <a:gd name="f173" fmla="val 10"/>
              <a:gd name="f174" fmla="val 361"/>
              <a:gd name="f175" fmla="val 4"/>
              <a:gd name="f176" fmla="val 357"/>
              <a:gd name="f177" fmla="val 2"/>
              <a:gd name="f178" fmla="val 353"/>
              <a:gd name="f179" fmla="val 348"/>
              <a:gd name="f180" fmla="val 5"/>
              <a:gd name="f181" fmla="val 344"/>
              <a:gd name="f182" fmla="val 6"/>
              <a:gd name="f183" fmla="val 341"/>
              <a:gd name="f184" fmla="val 7"/>
              <a:gd name="f185" fmla="val 339"/>
              <a:gd name="f186" fmla="val 8"/>
              <a:gd name="f187" fmla="val 336"/>
              <a:gd name="f188" fmla="val 333"/>
              <a:gd name="f189" fmla="val 11"/>
              <a:gd name="f190" fmla="val 329"/>
              <a:gd name="f191" fmla="val 13"/>
              <a:gd name="f192" fmla="val 328"/>
              <a:gd name="f193" fmla="val 16"/>
              <a:gd name="f194" fmla="val 326"/>
              <a:gd name="f195" fmla="val 18"/>
              <a:gd name="f196" fmla="val 21"/>
              <a:gd name="f197" fmla="val 324"/>
              <a:gd name="f198" fmla="val 23"/>
              <a:gd name="f199" fmla="val 322"/>
              <a:gd name="f200" fmla="val 321"/>
              <a:gd name="f201" fmla="val 25"/>
              <a:gd name="f202" fmla="val 317"/>
              <a:gd name="f203" fmla="val 313"/>
              <a:gd name="f204" fmla="val 308"/>
              <a:gd name="f205" fmla="val 303"/>
              <a:gd name="f206" fmla="val 301"/>
              <a:gd name="f207" fmla="val 298"/>
              <a:gd name="f208" fmla="val 28"/>
              <a:gd name="f209" fmla="val 296"/>
              <a:gd name="f210" fmla="val 29"/>
              <a:gd name="f211" fmla="val 30"/>
              <a:gd name="f212" fmla="val 295"/>
              <a:gd name="f213" fmla="val 293"/>
              <a:gd name="f214" fmla="val 287"/>
              <a:gd name="f215" fmla="val 281"/>
              <a:gd name="f216" fmla="val 276"/>
              <a:gd name="f217" fmla="val 272"/>
              <a:gd name="f218" fmla="val 271"/>
              <a:gd name="f219" fmla="val 269"/>
              <a:gd name="f220" fmla="val 35"/>
              <a:gd name="f221" fmla="val 268"/>
              <a:gd name="f222" fmla="val 267"/>
              <a:gd name="f223" fmla="val 41"/>
              <a:gd name="f224" fmla="val 264"/>
              <a:gd name="f225" fmla="val 44"/>
              <a:gd name="f226" fmla="val 39"/>
              <a:gd name="f227" fmla="val 245"/>
              <a:gd name="f228" fmla="val 33"/>
              <a:gd name="f229" fmla="val 242"/>
              <a:gd name="f230" fmla="val 31"/>
              <a:gd name="f231" fmla="val 240"/>
              <a:gd name="f232" fmla="val 238"/>
              <a:gd name="f233" fmla="val 229"/>
              <a:gd name="f234" fmla="val 228"/>
              <a:gd name="f235" fmla="val 220"/>
              <a:gd name="f236" fmla="val 216"/>
              <a:gd name="f237" fmla="val 215"/>
              <a:gd name="f238" fmla="val 214"/>
              <a:gd name="f239" fmla="val 213"/>
              <a:gd name="f240" fmla="val 212"/>
              <a:gd name="f241" fmla="val 210"/>
              <a:gd name="f242" fmla="val 205"/>
              <a:gd name="f243" fmla="val 203"/>
              <a:gd name="f244" fmla="val 201"/>
              <a:gd name="f245" fmla="val 199"/>
              <a:gd name="f246" fmla="val 197"/>
              <a:gd name="f247" fmla="val 195"/>
              <a:gd name="f248" fmla="val 194"/>
              <a:gd name="f249" fmla="val 192"/>
              <a:gd name="f250" fmla="val 24"/>
              <a:gd name="f251" fmla="val 189"/>
              <a:gd name="f252" fmla="val 187"/>
              <a:gd name="f253" fmla="val 186"/>
              <a:gd name="f254" fmla="val 182"/>
              <a:gd name="f255" fmla="val 179"/>
              <a:gd name="f256" fmla="val 172"/>
              <a:gd name="f257" fmla="val 170"/>
              <a:gd name="f258" fmla="val 168"/>
              <a:gd name="f259" fmla="val 165"/>
              <a:gd name="f260" fmla="val 15"/>
              <a:gd name="f261" fmla="val 162"/>
              <a:gd name="f262" fmla="val 160"/>
              <a:gd name="f263" fmla="val 158"/>
              <a:gd name="f264" fmla="val 20"/>
              <a:gd name="f265" fmla="val 157"/>
              <a:gd name="f266" fmla="val 156"/>
              <a:gd name="f267" fmla="val 155"/>
              <a:gd name="f268" fmla="val 152"/>
              <a:gd name="f269" fmla="val 145"/>
              <a:gd name="f270" fmla="val 143"/>
              <a:gd name="f271" fmla="val 142"/>
              <a:gd name="f272" fmla="val 140"/>
              <a:gd name="f273" fmla="val 135"/>
              <a:gd name="f274" fmla="val 133"/>
              <a:gd name="f275" fmla="val 132"/>
              <a:gd name="f276" fmla="val 43"/>
              <a:gd name="f277" fmla="val 127"/>
              <a:gd name="f278" fmla="val 124"/>
              <a:gd name="f279" fmla="val 122"/>
              <a:gd name="f280" fmla="val 120"/>
              <a:gd name="f281" fmla="val 45"/>
              <a:gd name="f282" fmla="val 118"/>
              <a:gd name="f283" fmla="val 47"/>
              <a:gd name="f284" fmla="val 116"/>
              <a:gd name="f285" fmla="val 48"/>
              <a:gd name="f286" fmla="val 113"/>
              <a:gd name="f287" fmla="val 110"/>
              <a:gd name="f288" fmla="val 50"/>
              <a:gd name="f289" fmla="val 108"/>
              <a:gd name="f290" fmla="val 51"/>
              <a:gd name="f291" fmla="val 52"/>
              <a:gd name="f292" fmla="val 107"/>
              <a:gd name="f293" fmla="val 54"/>
              <a:gd name="f294" fmla="val 55"/>
              <a:gd name="f295" fmla="val 105"/>
              <a:gd name="f296" fmla="val 104"/>
              <a:gd name="f297" fmla="val 56"/>
              <a:gd name="f298" fmla="val 103"/>
              <a:gd name="f299" fmla="val 102"/>
              <a:gd name="f300" fmla="val 61"/>
              <a:gd name="f301" fmla="val 100"/>
              <a:gd name="f302" fmla="val 99"/>
              <a:gd name="f303" fmla="val 69"/>
              <a:gd name="f304" fmla="val 98"/>
              <a:gd name="f305" fmla="val 71"/>
              <a:gd name="f306" fmla="val 74"/>
              <a:gd name="f307" fmla="val 75"/>
              <a:gd name="f308" fmla="val 97"/>
              <a:gd name="f309" fmla="val 76"/>
              <a:gd name="f310" fmla="val 95"/>
              <a:gd name="f311" fmla="val 94"/>
              <a:gd name="f312" fmla="val 89"/>
              <a:gd name="f313" fmla="val 82"/>
              <a:gd name="f314" fmla="val 88"/>
              <a:gd name="f315" fmla="val 80"/>
              <a:gd name="f316" fmla="val 78"/>
              <a:gd name="f317" fmla="val 117"/>
              <a:gd name="f318" fmla="val 123"/>
              <a:gd name="f319" fmla="val 126"/>
              <a:gd name="f320" fmla="val 129"/>
              <a:gd name="f321" fmla="val 134"/>
              <a:gd name="f322" fmla="val 137"/>
              <a:gd name="f323" fmla="val 139"/>
              <a:gd name="f324" fmla="val 149"/>
              <a:gd name="f325" fmla="val 150"/>
              <a:gd name="f326" fmla="val 153"/>
              <a:gd name="f327" fmla="val 154"/>
              <a:gd name="f328" fmla="val 163"/>
              <a:gd name="f329" fmla="val 164"/>
              <a:gd name="f330" fmla="val 166"/>
              <a:gd name="f331" fmla="val 38"/>
              <a:gd name="f332" fmla="val 167"/>
              <a:gd name="f333" fmla="val 177"/>
              <a:gd name="f334" fmla="val 12"/>
              <a:gd name="f335" fmla="val 173"/>
              <a:gd name="f336" fmla="val 1"/>
              <a:gd name="f337" fmla="val 184"/>
              <a:gd name="f338" fmla="val 188"/>
              <a:gd name="f339" fmla="val 190"/>
              <a:gd name="f340" fmla="val 193"/>
              <a:gd name="f341" fmla="val 196"/>
              <a:gd name="f342" fmla="val 198"/>
              <a:gd name="f343" fmla="val 200"/>
              <a:gd name="f344" fmla="val 202"/>
              <a:gd name="f345" fmla="val 218"/>
              <a:gd name="f346" fmla="val 222"/>
              <a:gd name="f347" fmla="val 225"/>
              <a:gd name="f348" fmla="val 226"/>
              <a:gd name="f349" fmla="val 227"/>
              <a:gd name="f350" fmla="val 231"/>
              <a:gd name="f351" fmla="val 232"/>
              <a:gd name="f352" fmla="val 235"/>
              <a:gd name="f353" fmla="val 236"/>
              <a:gd name="f354" fmla="val 237"/>
              <a:gd name="f355" fmla="val 258"/>
              <a:gd name="f356" fmla="val 260"/>
              <a:gd name="f357" fmla="val 261"/>
              <a:gd name="f358" fmla="val 262"/>
              <a:gd name="f359" fmla="val 263"/>
              <a:gd name="f360" fmla="val 265"/>
              <a:gd name="f361" fmla="val 270"/>
              <a:gd name="f362" fmla="val 273"/>
              <a:gd name="f363" fmla="val 274"/>
              <a:gd name="f364" fmla="val 277"/>
              <a:gd name="f365" fmla="val 278"/>
              <a:gd name="f366" fmla="val 279"/>
              <a:gd name="f367" fmla="val 280"/>
              <a:gd name="f368" fmla="val 282"/>
              <a:gd name="f369" fmla="val 283"/>
              <a:gd name="f370" fmla="val 284"/>
              <a:gd name="f371" fmla="val 285"/>
              <a:gd name="f372" fmla="val 286"/>
              <a:gd name="f373" fmla="val 288"/>
              <a:gd name="f374" fmla="val 289"/>
              <a:gd name="f375" fmla="val 290"/>
              <a:gd name="f376" fmla="val 291"/>
              <a:gd name="f377" fmla="val 292"/>
              <a:gd name="f378" fmla="val 294"/>
              <a:gd name="f379" fmla="val 300"/>
              <a:gd name="f380" fmla="val 302"/>
              <a:gd name="f381" fmla="val 93"/>
              <a:gd name="f382" fmla="val 305"/>
              <a:gd name="f383" fmla="val 307"/>
              <a:gd name="f384" fmla="val 306"/>
              <a:gd name="f385" fmla="val 304"/>
              <a:gd name="f386" fmla="val 299"/>
              <a:gd name="f387" fmla="val 297"/>
              <a:gd name="f388" fmla="val 131"/>
              <a:gd name="f389" fmla="val 309"/>
              <a:gd name="f390" fmla="val 310"/>
              <a:gd name="f391" fmla="val 311"/>
              <a:gd name="f392" fmla="val 312"/>
              <a:gd name="f393" fmla="val 314"/>
              <a:gd name="f394" fmla="val 315"/>
              <a:gd name="f395" fmla="val 316"/>
              <a:gd name="f396" fmla="val 318"/>
              <a:gd name="f397" fmla="val 319"/>
              <a:gd name="f398" fmla="val 323"/>
              <a:gd name="f399" fmla="val 325"/>
              <a:gd name="f400" fmla="val 327"/>
              <a:gd name="f401" fmla="val 331"/>
              <a:gd name="f402" fmla="val 332"/>
              <a:gd name="f403" fmla="val 334"/>
              <a:gd name="f404" fmla="val 335"/>
              <a:gd name="f405" fmla="val 337"/>
              <a:gd name="f406" fmla="val 338"/>
              <a:gd name="f407" fmla="val 340"/>
              <a:gd name="f408" fmla="val 144"/>
              <a:gd name="f409" fmla="val 347"/>
              <a:gd name="f410" fmla="val 349"/>
              <a:gd name="f411" fmla="val 350"/>
              <a:gd name="f412" fmla="val 351"/>
              <a:gd name="f413" fmla="val 352"/>
              <a:gd name="f414" fmla="val 355"/>
              <a:gd name="f415" fmla="val 356"/>
              <a:gd name="f416" fmla="val 358"/>
              <a:gd name="f417" fmla="val 363"/>
              <a:gd name="f418" fmla="val 366"/>
              <a:gd name="f419" fmla="val 368"/>
              <a:gd name="f420" fmla="val 364"/>
              <a:gd name="f421" fmla="val 174"/>
              <a:gd name="f422" fmla="val 183"/>
              <a:gd name="f423" fmla="val 370"/>
              <a:gd name="f424" fmla="val 371"/>
              <a:gd name="f425" fmla="val 373"/>
              <a:gd name="f426" fmla="val 375"/>
              <a:gd name="f427" fmla="val 207"/>
              <a:gd name="f428" fmla="val 209"/>
              <a:gd name="f429" fmla="val 221"/>
              <a:gd name="f430" fmla="val 377"/>
              <a:gd name="f431" fmla="val 376"/>
              <a:gd name="f432" fmla="val 266"/>
              <a:gd name="f433" fmla="val 382"/>
              <a:gd name="f434" fmla="val 275"/>
              <a:gd name="f435" fmla="val 359"/>
              <a:gd name="f436" fmla="val 354"/>
              <a:gd name="f437" fmla="val 346"/>
              <a:gd name="f438" fmla="val 345"/>
              <a:gd name="f439" fmla="val 342"/>
              <a:gd name="f440" fmla="val 343"/>
              <a:gd name="f441" fmla="val 385"/>
              <a:gd name="f442" fmla="val 387"/>
              <a:gd name="f443" fmla="val 397"/>
              <a:gd name="f444" fmla="val 398"/>
              <a:gd name="f445" fmla="val 402"/>
              <a:gd name="f446" fmla="val 404"/>
              <a:gd name="f447" fmla="val 410"/>
              <a:gd name="f448" fmla="val 413"/>
              <a:gd name="f449" fmla="val 415"/>
              <a:gd name="f450" fmla="val 423"/>
              <a:gd name="f451" fmla="val 425"/>
              <a:gd name="f452" fmla="val 426"/>
              <a:gd name="f453" fmla="val 441"/>
              <a:gd name="f454" fmla="val 446"/>
              <a:gd name="f455" fmla="val 449"/>
              <a:gd name="f456" fmla="val 452"/>
              <a:gd name="f457" fmla="val 456"/>
              <a:gd name="f458" fmla="val 458"/>
              <a:gd name="f459" fmla="val 465"/>
              <a:gd name="f460" fmla="val 330"/>
              <a:gd name="f461" fmla="val 469"/>
              <a:gd name="f462" fmla="val 464"/>
              <a:gd name="f463" fmla="val 475"/>
              <a:gd name="f464" fmla="val 473"/>
              <a:gd name="f465" fmla="val 471"/>
              <a:gd name="f466" fmla="val 477"/>
              <a:gd name="f467" fmla="val 479"/>
              <a:gd name="f468" fmla="val 481"/>
              <a:gd name="f469" fmla="val 482"/>
              <a:gd name="f470" fmla="val 484"/>
              <a:gd name="f471" fmla="val 485"/>
              <a:gd name="f472" fmla="val 488"/>
              <a:gd name="f473" fmla="val 492"/>
              <a:gd name="f474" fmla="val 494"/>
              <a:gd name="f475" fmla="val 500"/>
              <a:gd name="f476" fmla="val 502"/>
              <a:gd name="f477" fmla="val 516"/>
              <a:gd name="f478" fmla="val 517"/>
              <a:gd name="f479" fmla="val 518"/>
              <a:gd name="f480" fmla="val 520"/>
              <a:gd name="f481" fmla="val 521"/>
              <a:gd name="f482" fmla="val 522"/>
              <a:gd name="f483" fmla="val 523"/>
              <a:gd name="f484" fmla="+- 0 0 -90"/>
              <a:gd name="f485" fmla="*/ f4 1 525"/>
              <a:gd name="f486" fmla="*/ f5 1 384"/>
              <a:gd name="f487" fmla="+- f8 0 f6"/>
              <a:gd name="f488" fmla="+- f7 0 f6"/>
              <a:gd name="f489" fmla="*/ f484 f0 1"/>
              <a:gd name="f490" fmla="*/ f488 1 525"/>
              <a:gd name="f491" fmla="*/ f487 1 384"/>
              <a:gd name="f492" fmla="*/ f489 1 f3"/>
              <a:gd name="f493" fmla="*/ 474 1 f490"/>
              <a:gd name="f494" fmla="*/ 252 1 f491"/>
              <a:gd name="f495" fmla="*/ 437 1 f490"/>
              <a:gd name="f496" fmla="*/ 239 1 f491"/>
              <a:gd name="f497" fmla="*/ 438 1 f490"/>
              <a:gd name="f498" fmla="*/ 138 1 f491"/>
              <a:gd name="f499" fmla="*/ 412 1 f490"/>
              <a:gd name="f500" fmla="*/ 87 1 f491"/>
              <a:gd name="f501" fmla="*/ 392 1 f490"/>
              <a:gd name="f502" fmla="*/ 65 1 f491"/>
              <a:gd name="f503" fmla="*/ 379 1 f490"/>
              <a:gd name="f504" fmla="*/ 32 1 f491"/>
              <a:gd name="f505" fmla="*/ 336 1 f490"/>
              <a:gd name="f506" fmla="*/ 10 1 f491"/>
              <a:gd name="f507" fmla="*/ 295 1 f490"/>
              <a:gd name="f508" fmla="*/ 30 1 f491"/>
              <a:gd name="f509" fmla="*/ 245 1 f490"/>
              <a:gd name="f510" fmla="*/ 34 1 f491"/>
              <a:gd name="f511" fmla="*/ 212 1 f490"/>
              <a:gd name="f512" fmla="*/ 27 1 f491"/>
              <a:gd name="f513" fmla="*/ 175 1 f490"/>
              <a:gd name="f514" fmla="*/ 24 1 f491"/>
              <a:gd name="f515" fmla="*/ 145 1 f490"/>
              <a:gd name="f516" fmla="*/ 125 1 f490"/>
              <a:gd name="f517" fmla="*/ 42 1 f491"/>
              <a:gd name="f518" fmla="*/ 107 1 f490"/>
              <a:gd name="f519" fmla="*/ 53 1 f491"/>
              <a:gd name="f520" fmla="*/ 102 1 f490"/>
              <a:gd name="f521" fmla="*/ 62 1 f491"/>
              <a:gd name="f522" fmla="*/ 94 1 f490"/>
              <a:gd name="f523" fmla="*/ 76 1 f491"/>
              <a:gd name="f524" fmla="*/ 80 1 f490"/>
              <a:gd name="f525" fmla="*/ 102 1 f491"/>
              <a:gd name="f526" fmla="*/ 73 1 f490"/>
              <a:gd name="f527" fmla="*/ 123 1 f491"/>
              <a:gd name="f528" fmla="*/ 64 1 f490"/>
              <a:gd name="f529" fmla="*/ 133 1 f491"/>
              <a:gd name="f530" fmla="*/ 54 1 f490"/>
              <a:gd name="f531" fmla="*/ 149 1 f491"/>
              <a:gd name="f532" fmla="*/ 48 1 f490"/>
              <a:gd name="f533" fmla="*/ 159 1 f491"/>
              <a:gd name="f534" fmla="*/ 34 1 f490"/>
              <a:gd name="f535" fmla="*/ 165 1 f491"/>
              <a:gd name="f536" fmla="*/ 5 1 f490"/>
              <a:gd name="f537" fmla="*/ 182 1 f491"/>
              <a:gd name="f538" fmla="*/ 19 1 f490"/>
              <a:gd name="f539" fmla="*/ 199 1 f491"/>
              <a:gd name="f540" fmla="*/ 29 1 f490"/>
              <a:gd name="f541" fmla="*/ 210 1 f491"/>
              <a:gd name="f542" fmla="*/ 31 1 f490"/>
              <a:gd name="f543" fmla="*/ 231 1 f491"/>
              <a:gd name="f544" fmla="*/ 61 1 f490"/>
              <a:gd name="f545" fmla="*/ 246 1 f491"/>
              <a:gd name="f546" fmla="*/ 260 1 f491"/>
              <a:gd name="f547" fmla="*/ 65 1 f490"/>
              <a:gd name="f548" fmla="*/ 273 1 f491"/>
              <a:gd name="f549" fmla="*/ 285 1 f491"/>
              <a:gd name="f550" fmla="*/ 71 1 f490"/>
              <a:gd name="f551" fmla="*/ 292 1 f491"/>
              <a:gd name="f552" fmla="*/ 305 1 f491"/>
              <a:gd name="f553" fmla="*/ 299 1 f491"/>
              <a:gd name="f554" fmla="*/ 122 1 f490"/>
              <a:gd name="f555" fmla="*/ 309 1 f491"/>
              <a:gd name="f556" fmla="*/ 119 1 f490"/>
              <a:gd name="f557" fmla="*/ 318 1 f491"/>
              <a:gd name="f558" fmla="*/ 132 1 f490"/>
              <a:gd name="f559" fmla="*/ 335 1 f491"/>
              <a:gd name="f560" fmla="*/ 138 1 f490"/>
              <a:gd name="f561" fmla="*/ 365 1 f491"/>
              <a:gd name="f562" fmla="*/ 185 1 f490"/>
              <a:gd name="f563" fmla="*/ 369 1 f491"/>
              <a:gd name="f564" fmla="*/ 221 1 f490"/>
              <a:gd name="f565" fmla="*/ 378 1 f491"/>
              <a:gd name="f566" fmla="*/ 263 1 f490"/>
              <a:gd name="f567" fmla="*/ 290 1 f490"/>
              <a:gd name="f568" fmla="*/ 381 1 f491"/>
              <a:gd name="f569" fmla="*/ 308 1 f490"/>
              <a:gd name="f570" fmla="*/ 364 1 f491"/>
              <a:gd name="f571" fmla="*/ 344 1 f490"/>
              <a:gd name="f572" fmla="*/ 350 1 f491"/>
              <a:gd name="f573" fmla="*/ 382 1 f490"/>
              <a:gd name="f574" fmla="*/ 347 1 f491"/>
              <a:gd name="f575" fmla="*/ 399 1 f490"/>
              <a:gd name="f576" fmla="*/ 355 1 f491"/>
              <a:gd name="f577" fmla="*/ 414 1 f490"/>
              <a:gd name="f578" fmla="*/ 360 1 f491"/>
              <a:gd name="f579" fmla="*/ 426 1 f490"/>
              <a:gd name="f580" fmla="*/ 368 1 f491"/>
              <a:gd name="f581" fmla="*/ 446 1 f490"/>
              <a:gd name="f582" fmla="*/ 379 1 f491"/>
              <a:gd name="f583" fmla="*/ 458 1 f490"/>
              <a:gd name="f584" fmla="*/ 366 1 f491"/>
              <a:gd name="f585" fmla="*/ 468 1 f490"/>
              <a:gd name="f586" fmla="*/ 316 1 f491"/>
              <a:gd name="f587" fmla="*/ 476 1 f490"/>
              <a:gd name="f588" fmla="*/ 294 1 f491"/>
              <a:gd name="f589" fmla="*/ 491 1 f490"/>
              <a:gd name="f590" fmla="*/ 289 1 f491"/>
              <a:gd name="f591" fmla="*/ 518 1 f490"/>
              <a:gd name="f592" fmla="*/ 280 1 f491"/>
              <a:gd name="f593" fmla="*/ 0 1 f490"/>
              <a:gd name="f594" fmla="*/ f7 1 f490"/>
              <a:gd name="f595" fmla="*/ 0 1 f491"/>
              <a:gd name="f596" fmla="*/ f8 1 f491"/>
              <a:gd name="f597" fmla="+- f492 0 f1"/>
              <a:gd name="f598" fmla="*/ f593 f485 1"/>
              <a:gd name="f599" fmla="*/ f594 f485 1"/>
              <a:gd name="f600" fmla="*/ f596 f486 1"/>
              <a:gd name="f601" fmla="*/ f595 f486 1"/>
              <a:gd name="f602" fmla="*/ f493 f485 1"/>
              <a:gd name="f603" fmla="*/ f494 f486 1"/>
              <a:gd name="f604" fmla="*/ f495 f485 1"/>
              <a:gd name="f605" fmla="*/ f496 f486 1"/>
              <a:gd name="f606" fmla="*/ f497 f485 1"/>
              <a:gd name="f607" fmla="*/ f498 f486 1"/>
              <a:gd name="f608" fmla="*/ f499 f485 1"/>
              <a:gd name="f609" fmla="*/ f500 f486 1"/>
              <a:gd name="f610" fmla="*/ f501 f485 1"/>
              <a:gd name="f611" fmla="*/ f502 f486 1"/>
              <a:gd name="f612" fmla="*/ f503 f485 1"/>
              <a:gd name="f613" fmla="*/ f504 f486 1"/>
              <a:gd name="f614" fmla="*/ f505 f485 1"/>
              <a:gd name="f615" fmla="*/ f506 f486 1"/>
              <a:gd name="f616" fmla="*/ f507 f485 1"/>
              <a:gd name="f617" fmla="*/ f508 f486 1"/>
              <a:gd name="f618" fmla="*/ f509 f485 1"/>
              <a:gd name="f619" fmla="*/ f510 f486 1"/>
              <a:gd name="f620" fmla="*/ f511 f485 1"/>
              <a:gd name="f621" fmla="*/ f512 f486 1"/>
              <a:gd name="f622" fmla="*/ f513 f485 1"/>
              <a:gd name="f623" fmla="*/ f514 f486 1"/>
              <a:gd name="f624" fmla="*/ f515 f485 1"/>
              <a:gd name="f625" fmla="*/ f516 f485 1"/>
              <a:gd name="f626" fmla="*/ f517 f486 1"/>
              <a:gd name="f627" fmla="*/ f518 f485 1"/>
              <a:gd name="f628" fmla="*/ f519 f486 1"/>
              <a:gd name="f629" fmla="*/ f520 f485 1"/>
              <a:gd name="f630" fmla="*/ f521 f486 1"/>
              <a:gd name="f631" fmla="*/ f522 f485 1"/>
              <a:gd name="f632" fmla="*/ f523 f486 1"/>
              <a:gd name="f633" fmla="*/ f524 f485 1"/>
              <a:gd name="f634" fmla="*/ f525 f486 1"/>
              <a:gd name="f635" fmla="*/ f526 f485 1"/>
              <a:gd name="f636" fmla="*/ f527 f486 1"/>
              <a:gd name="f637" fmla="*/ f528 f485 1"/>
              <a:gd name="f638" fmla="*/ f529 f486 1"/>
              <a:gd name="f639" fmla="*/ f530 f485 1"/>
              <a:gd name="f640" fmla="*/ f531 f486 1"/>
              <a:gd name="f641" fmla="*/ f532 f485 1"/>
              <a:gd name="f642" fmla="*/ f533 f486 1"/>
              <a:gd name="f643" fmla="*/ f534 f485 1"/>
              <a:gd name="f644" fmla="*/ f535 f486 1"/>
              <a:gd name="f645" fmla="*/ f536 f485 1"/>
              <a:gd name="f646" fmla="*/ f537 f486 1"/>
              <a:gd name="f647" fmla="*/ f538 f485 1"/>
              <a:gd name="f648" fmla="*/ f539 f486 1"/>
              <a:gd name="f649" fmla="*/ f540 f485 1"/>
              <a:gd name="f650" fmla="*/ f541 f486 1"/>
              <a:gd name="f651" fmla="*/ f542 f485 1"/>
              <a:gd name="f652" fmla="*/ f543 f486 1"/>
              <a:gd name="f653" fmla="*/ f544 f485 1"/>
              <a:gd name="f654" fmla="*/ f545 f486 1"/>
              <a:gd name="f655" fmla="*/ f546 f486 1"/>
              <a:gd name="f656" fmla="*/ f547 f485 1"/>
              <a:gd name="f657" fmla="*/ f548 f486 1"/>
              <a:gd name="f658" fmla="*/ f549 f486 1"/>
              <a:gd name="f659" fmla="*/ f550 f485 1"/>
              <a:gd name="f660" fmla="*/ f551 f486 1"/>
              <a:gd name="f661" fmla="*/ f552 f486 1"/>
              <a:gd name="f662" fmla="*/ f553 f486 1"/>
              <a:gd name="f663" fmla="*/ f554 f485 1"/>
              <a:gd name="f664" fmla="*/ f555 f486 1"/>
              <a:gd name="f665" fmla="*/ f556 f485 1"/>
              <a:gd name="f666" fmla="*/ f557 f486 1"/>
              <a:gd name="f667" fmla="*/ f558 f485 1"/>
              <a:gd name="f668" fmla="*/ f559 f486 1"/>
              <a:gd name="f669" fmla="*/ f560 f485 1"/>
              <a:gd name="f670" fmla="*/ f561 f486 1"/>
              <a:gd name="f671" fmla="*/ f562 f485 1"/>
              <a:gd name="f672" fmla="*/ f563 f486 1"/>
              <a:gd name="f673" fmla="*/ f564 f485 1"/>
              <a:gd name="f674" fmla="*/ f565 f486 1"/>
              <a:gd name="f675" fmla="*/ f566 f485 1"/>
              <a:gd name="f676" fmla="*/ f567 f485 1"/>
              <a:gd name="f677" fmla="*/ f568 f486 1"/>
              <a:gd name="f678" fmla="*/ f569 f485 1"/>
              <a:gd name="f679" fmla="*/ f570 f486 1"/>
              <a:gd name="f680" fmla="*/ f571 f485 1"/>
              <a:gd name="f681" fmla="*/ f572 f486 1"/>
              <a:gd name="f682" fmla="*/ f573 f485 1"/>
              <a:gd name="f683" fmla="*/ f574 f486 1"/>
              <a:gd name="f684" fmla="*/ f575 f485 1"/>
              <a:gd name="f685" fmla="*/ f576 f486 1"/>
              <a:gd name="f686" fmla="*/ f577 f485 1"/>
              <a:gd name="f687" fmla="*/ f578 f486 1"/>
              <a:gd name="f688" fmla="*/ f579 f485 1"/>
              <a:gd name="f689" fmla="*/ f580 f486 1"/>
              <a:gd name="f690" fmla="*/ f581 f485 1"/>
              <a:gd name="f691" fmla="*/ f582 f486 1"/>
              <a:gd name="f692" fmla="*/ f583 f485 1"/>
              <a:gd name="f693" fmla="*/ f584 f486 1"/>
              <a:gd name="f694" fmla="*/ f585 f485 1"/>
              <a:gd name="f695" fmla="*/ f586 f486 1"/>
              <a:gd name="f696" fmla="*/ f587 f485 1"/>
              <a:gd name="f697" fmla="*/ f588 f486 1"/>
              <a:gd name="f698" fmla="*/ f589 f485 1"/>
              <a:gd name="f699" fmla="*/ f590 f486 1"/>
              <a:gd name="f700" fmla="*/ f591 f485 1"/>
              <a:gd name="f701" fmla="*/ f592 f486 1"/>
            </a:gdLst>
            <a:ahLst/>
            <a:cxnLst>
              <a:cxn ang="3cd4">
                <a:pos x="hc" y="t"/>
              </a:cxn>
              <a:cxn ang="0">
                <a:pos x="r" y="vc"/>
              </a:cxn>
              <a:cxn ang="cd4">
                <a:pos x="hc" y="b"/>
              </a:cxn>
              <a:cxn ang="cd2">
                <a:pos x="l" y="vc"/>
              </a:cxn>
              <a:cxn ang="f597">
                <a:pos x="f602" y="f603"/>
              </a:cxn>
              <a:cxn ang="f597">
                <a:pos x="f604" y="f605"/>
              </a:cxn>
              <a:cxn ang="f597">
                <a:pos x="f606" y="f607"/>
              </a:cxn>
              <a:cxn ang="f597">
                <a:pos x="f608" y="f609"/>
              </a:cxn>
              <a:cxn ang="f597">
                <a:pos x="f610" y="f611"/>
              </a:cxn>
              <a:cxn ang="f597">
                <a:pos x="f612" y="f613"/>
              </a:cxn>
              <a:cxn ang="f597">
                <a:pos x="f614" y="f615"/>
              </a:cxn>
              <a:cxn ang="f597">
                <a:pos x="f616" y="f617"/>
              </a:cxn>
              <a:cxn ang="f597">
                <a:pos x="f618" y="f619"/>
              </a:cxn>
              <a:cxn ang="f597">
                <a:pos x="f620" y="f621"/>
              </a:cxn>
              <a:cxn ang="f597">
                <a:pos x="f622" y="f623"/>
              </a:cxn>
              <a:cxn ang="f597">
                <a:pos x="f624" y="f621"/>
              </a:cxn>
              <a:cxn ang="f597">
                <a:pos x="f625" y="f626"/>
              </a:cxn>
              <a:cxn ang="f597">
                <a:pos x="f627" y="f628"/>
              </a:cxn>
              <a:cxn ang="f597">
                <a:pos x="f629" y="f630"/>
              </a:cxn>
              <a:cxn ang="f597">
                <a:pos x="f631" y="f632"/>
              </a:cxn>
              <a:cxn ang="f597">
                <a:pos x="f633" y="f634"/>
              </a:cxn>
              <a:cxn ang="f597">
                <a:pos x="f635" y="f636"/>
              </a:cxn>
              <a:cxn ang="f597">
                <a:pos x="f637" y="f638"/>
              </a:cxn>
              <a:cxn ang="f597">
                <a:pos x="f639" y="f640"/>
              </a:cxn>
              <a:cxn ang="f597">
                <a:pos x="f641" y="f642"/>
              </a:cxn>
              <a:cxn ang="f597">
                <a:pos x="f643" y="f644"/>
              </a:cxn>
              <a:cxn ang="f597">
                <a:pos x="f645" y="f646"/>
              </a:cxn>
              <a:cxn ang="f597">
                <a:pos x="f647" y="f648"/>
              </a:cxn>
              <a:cxn ang="f597">
                <a:pos x="f649" y="f650"/>
              </a:cxn>
              <a:cxn ang="f597">
                <a:pos x="f651" y="f652"/>
              </a:cxn>
              <a:cxn ang="f597">
                <a:pos x="f653" y="f654"/>
              </a:cxn>
              <a:cxn ang="f597">
                <a:pos x="f653" y="f655"/>
              </a:cxn>
              <a:cxn ang="f597">
                <a:pos x="f656" y="f657"/>
              </a:cxn>
              <a:cxn ang="f597">
                <a:pos x="f653" y="f658"/>
              </a:cxn>
              <a:cxn ang="f597">
                <a:pos x="f659" y="f660"/>
              </a:cxn>
              <a:cxn ang="f597">
                <a:pos x="f631" y="f661"/>
              </a:cxn>
              <a:cxn ang="f597">
                <a:pos x="f627" y="f662"/>
              </a:cxn>
              <a:cxn ang="f597">
                <a:pos x="f663" y="f664"/>
              </a:cxn>
              <a:cxn ang="f597">
                <a:pos x="f665" y="f666"/>
              </a:cxn>
              <a:cxn ang="f597">
                <a:pos x="f667" y="f668"/>
              </a:cxn>
              <a:cxn ang="f597">
                <a:pos x="f669" y="f670"/>
              </a:cxn>
              <a:cxn ang="f597">
                <a:pos x="f671" y="f672"/>
              </a:cxn>
              <a:cxn ang="f597">
                <a:pos x="f673" y="f674"/>
              </a:cxn>
              <a:cxn ang="f597">
                <a:pos x="f675" y="f674"/>
              </a:cxn>
              <a:cxn ang="f597">
                <a:pos x="f676" y="f677"/>
              </a:cxn>
              <a:cxn ang="f597">
                <a:pos x="f678" y="f679"/>
              </a:cxn>
              <a:cxn ang="f597">
                <a:pos x="f680" y="f681"/>
              </a:cxn>
              <a:cxn ang="f597">
                <a:pos x="f682" y="f683"/>
              </a:cxn>
              <a:cxn ang="f597">
                <a:pos x="f684" y="f685"/>
              </a:cxn>
              <a:cxn ang="f597">
                <a:pos x="f686" y="f687"/>
              </a:cxn>
              <a:cxn ang="f597">
                <a:pos x="f688" y="f689"/>
              </a:cxn>
              <a:cxn ang="f597">
                <a:pos x="f690" y="f691"/>
              </a:cxn>
              <a:cxn ang="f597">
                <a:pos x="f692" y="f693"/>
              </a:cxn>
              <a:cxn ang="f597">
                <a:pos x="f694" y="f695"/>
              </a:cxn>
              <a:cxn ang="f597">
                <a:pos x="f696" y="f697"/>
              </a:cxn>
              <a:cxn ang="f597">
                <a:pos x="f698" y="f699"/>
              </a:cxn>
              <a:cxn ang="f597">
                <a:pos x="f700" y="f701"/>
              </a:cxn>
            </a:cxnLst>
            <a:rect l="f598" t="f601" r="f599" b="f600"/>
            <a:pathLst>
              <a:path w="525" h="384">
                <a:moveTo>
                  <a:pt x="f7" y="f9"/>
                </a:moveTo>
                <a:cubicBezTo>
                  <a:pt x="f7" y="f10"/>
                  <a:pt x="f11" y="f12"/>
                  <a:pt x="f13" y="f14"/>
                </a:cubicBezTo>
                <a:cubicBezTo>
                  <a:pt x="f15" y="f16"/>
                  <a:pt x="f17" y="f18"/>
                  <a:pt x="f19" y="f20"/>
                </a:cubicBezTo>
                <a:cubicBezTo>
                  <a:pt x="f21" y="f20"/>
                  <a:pt x="f21" y="f16"/>
                  <a:pt x="f22" y="f23"/>
                </a:cubicBezTo>
                <a:cubicBezTo>
                  <a:pt x="f24" y="f14"/>
                  <a:pt x="f25" y="f12"/>
                  <a:pt x="f26" y="f27"/>
                </a:cubicBezTo>
                <a:cubicBezTo>
                  <a:pt x="f28" y="f10"/>
                  <a:pt x="f29" y="f10"/>
                  <a:pt x="f30" y="f10"/>
                </a:cubicBezTo>
                <a:cubicBezTo>
                  <a:pt x="f31" y="f10"/>
                  <a:pt x="f32" y="f33"/>
                  <a:pt x="f34" y="f10"/>
                </a:cubicBezTo>
                <a:cubicBezTo>
                  <a:pt x="f35" y="f10"/>
                  <a:pt x="f35" y="f9"/>
                  <a:pt x="f36" y="f37"/>
                </a:cubicBezTo>
                <a:cubicBezTo>
                  <a:pt x="f38" y="f39"/>
                  <a:pt x="f40" y="f41"/>
                  <a:pt x="f42" y="f37"/>
                </a:cubicBezTo>
                <a:cubicBezTo>
                  <a:pt x="f43" y="f44"/>
                  <a:pt x="f45" y="f46"/>
                  <a:pt x="f47" y="f10"/>
                </a:cubicBezTo>
                <a:cubicBezTo>
                  <a:pt x="f48" y="f10"/>
                  <a:pt x="f49" y="f12"/>
                  <a:pt x="f50" y="f51"/>
                </a:cubicBezTo>
                <a:cubicBezTo>
                  <a:pt x="f50" y="f14"/>
                  <a:pt x="f52" y="f53"/>
                  <a:pt x="f54" y="f53"/>
                </a:cubicBezTo>
                <a:cubicBezTo>
                  <a:pt x="f55" y="f56"/>
                  <a:pt x="f57" y="f58"/>
                  <a:pt x="f59" y="f60"/>
                </a:cubicBezTo>
                <a:cubicBezTo>
                  <a:pt x="f55" y="f61"/>
                  <a:pt x="f55" y="f62"/>
                  <a:pt x="f63" y="f64"/>
                </a:cubicBezTo>
                <a:cubicBezTo>
                  <a:pt x="f65" y="f66"/>
                  <a:pt x="f67" y="f68"/>
                  <a:pt x="f67" y="f69"/>
                </a:cubicBezTo>
                <a:cubicBezTo>
                  <a:pt x="f63" y="f70"/>
                  <a:pt x="f55" y="f71"/>
                  <a:pt x="f54" y="f72"/>
                </a:cubicBezTo>
                <a:cubicBezTo>
                  <a:pt x="f52" y="f73"/>
                  <a:pt x="f74" y="f75"/>
                  <a:pt x="f54" y="f76"/>
                </a:cubicBezTo>
                <a:cubicBezTo>
                  <a:pt x="f77" y="f78"/>
                  <a:pt x="f52" y="f79"/>
                  <a:pt x="f52" y="f80"/>
                </a:cubicBezTo>
                <a:cubicBezTo>
                  <a:pt x="f52" y="f81"/>
                  <a:pt x="f82" y="f83"/>
                  <a:pt x="f82" y="f84"/>
                </a:cubicBezTo>
                <a:cubicBezTo>
                  <a:pt x="f59" y="f85"/>
                  <a:pt x="f82" y="f86"/>
                  <a:pt x="f63" y="f86"/>
                </a:cubicBezTo>
                <a:cubicBezTo>
                  <a:pt x="f87" y="f86"/>
                  <a:pt x="f88" y="f89"/>
                  <a:pt x="f90" y="f91"/>
                </a:cubicBezTo>
                <a:cubicBezTo>
                  <a:pt x="f92" y="f93"/>
                  <a:pt x="f94" y="f95"/>
                  <a:pt x="f94" y="f96"/>
                </a:cubicBezTo>
                <a:cubicBezTo>
                  <a:pt x="f92" y="f97"/>
                  <a:pt x="f98" y="f99"/>
                  <a:pt x="f100" y="f101"/>
                </a:cubicBezTo>
                <a:cubicBezTo>
                  <a:pt x="f102" y="f103"/>
                  <a:pt x="f102" y="f104"/>
                  <a:pt x="f105" y="f106"/>
                </a:cubicBezTo>
                <a:cubicBezTo>
                  <a:pt x="f107" y="f108"/>
                  <a:pt x="f109" y="f110"/>
                  <a:pt x="f111" y="f112"/>
                </a:cubicBezTo>
                <a:cubicBezTo>
                  <a:pt x="f113" y="f114"/>
                  <a:pt x="f115" y="f116"/>
                  <a:pt x="f117" y="f118"/>
                </a:cubicBezTo>
                <a:cubicBezTo>
                  <a:pt x="f119" y="f120"/>
                  <a:pt x="f119" y="f121"/>
                  <a:pt x="f122" y="f123"/>
                </a:cubicBezTo>
                <a:cubicBezTo>
                  <a:pt x="f124" y="f125"/>
                  <a:pt x="f126" y="f125"/>
                  <a:pt x="f127" y="f128"/>
                </a:cubicBezTo>
                <a:cubicBezTo>
                  <a:pt x="f127" y="f128"/>
                  <a:pt x="f129" y="f130"/>
                  <a:pt x="f127" y="f130"/>
                </a:cubicBezTo>
                <a:cubicBezTo>
                  <a:pt x="f127" y="f131"/>
                  <a:pt x="f132" y="f131"/>
                  <a:pt x="f133" y="f134"/>
                </a:cubicBezTo>
                <a:cubicBezTo>
                  <a:pt x="f135" y="f134"/>
                  <a:pt x="f133" y="f136"/>
                  <a:pt x="f135" y="f137"/>
                </a:cubicBezTo>
                <a:cubicBezTo>
                  <a:pt x="f135" y="f138"/>
                  <a:pt x="f139" y="f138"/>
                  <a:pt x="f139" y="f140"/>
                </a:cubicBezTo>
                <a:cubicBezTo>
                  <a:pt x="f141" y="f142"/>
                  <a:pt x="f139" y="f143"/>
                  <a:pt x="f139" y="f144"/>
                </a:cubicBezTo>
                <a:cubicBezTo>
                  <a:pt x="f139" y="f145"/>
                  <a:pt x="f139" y="f146"/>
                  <a:pt x="f147" y="f148"/>
                </a:cubicBezTo>
                <a:cubicBezTo>
                  <a:pt x="f149" y="f150"/>
                  <a:pt x="f151" y="f152"/>
                  <a:pt x="f153" y="f154"/>
                </a:cubicBezTo>
                <a:cubicBezTo>
                  <a:pt x="f155" y="f156"/>
                  <a:pt x="f155" y="f157"/>
                  <a:pt x="f158" y="f159"/>
                </a:cubicBezTo>
                <a:cubicBezTo>
                  <a:pt x="f160" y="f161"/>
                  <a:pt x="f162" y="f163"/>
                  <a:pt x="f164" y="f165"/>
                </a:cubicBezTo>
                <a:cubicBezTo>
                  <a:pt x="f166" y="f167"/>
                  <a:pt x="f168" y="f169"/>
                  <a:pt x="f170" y="f171"/>
                </a:cubicBezTo>
                <a:cubicBezTo>
                  <a:pt x="f172" y="f173"/>
                  <a:pt x="f174" y="f175"/>
                  <a:pt x="f176" y="f177"/>
                </a:cubicBezTo>
                <a:cubicBezTo>
                  <a:pt x="f178" y="f6"/>
                  <a:pt x="f179" y="f180"/>
                  <a:pt x="f181" y="f182"/>
                </a:cubicBezTo>
                <a:cubicBezTo>
                  <a:pt x="f181" y="f182"/>
                  <a:pt x="f181" y="f182"/>
                  <a:pt x="f181" y="f182"/>
                </a:cubicBezTo>
                <a:cubicBezTo>
                  <a:pt x="f183" y="f184"/>
                  <a:pt x="f185" y="f186"/>
                  <a:pt x="f187" y="f173"/>
                </a:cubicBezTo>
                <a:cubicBezTo>
                  <a:pt x="f188" y="f189"/>
                  <a:pt x="f190" y="f191"/>
                  <a:pt x="f192" y="f193"/>
                </a:cubicBezTo>
                <a:cubicBezTo>
                  <a:pt x="f194" y="f195"/>
                  <a:pt x="f194" y="f196"/>
                  <a:pt x="f197" y="f198"/>
                </a:cubicBezTo>
                <a:cubicBezTo>
                  <a:pt x="f199" y="f163"/>
                  <a:pt x="f200" y="f201"/>
                  <a:pt x="f202" y="f201"/>
                </a:cubicBezTo>
                <a:cubicBezTo>
                  <a:pt x="f203" y="f201"/>
                  <a:pt x="f204" y="f161"/>
                  <a:pt x="f205" y="f161"/>
                </a:cubicBezTo>
                <a:cubicBezTo>
                  <a:pt x="f206" y="f161"/>
                  <a:pt x="f207" y="f208"/>
                  <a:pt x="f209" y="f210"/>
                </a:cubicBezTo>
                <a:cubicBezTo>
                  <a:pt x="f209" y="f210"/>
                  <a:pt x="f209" y="f211"/>
                  <a:pt x="f212" y="f211"/>
                </a:cubicBezTo>
                <a:cubicBezTo>
                  <a:pt x="f212" y="f211"/>
                  <a:pt x="f213" y="f211"/>
                  <a:pt x="f213" y="f211"/>
                </a:cubicBezTo>
                <a:cubicBezTo>
                  <a:pt x="f214" y="f211"/>
                  <a:pt x="f215" y="f211"/>
                  <a:pt x="f216" y="f211"/>
                </a:cubicBezTo>
                <a:cubicBezTo>
                  <a:pt x="f217" y="f211"/>
                  <a:pt x="f218" y="f159"/>
                  <a:pt x="f219" y="f220"/>
                </a:cubicBezTo>
                <a:cubicBezTo>
                  <a:pt x="f221" y="f154"/>
                  <a:pt x="f222" y="f223"/>
                  <a:pt x="f224" y="f150"/>
                </a:cubicBezTo>
                <a:cubicBezTo>
                  <a:pt x="f39" y="f225"/>
                  <a:pt x="f46" y="f150"/>
                  <a:pt x="f12" y="f226"/>
                </a:cubicBezTo>
                <a:cubicBezTo>
                  <a:pt x="f14" y="f154"/>
                  <a:pt x="f23" y="f220"/>
                  <a:pt x="f227" y="f157"/>
                </a:cubicBezTo>
                <a:cubicBezTo>
                  <a:pt x="f16" y="f228"/>
                  <a:pt x="f229" y="f159"/>
                  <a:pt x="f18" y="f230"/>
                </a:cubicBezTo>
                <a:cubicBezTo>
                  <a:pt x="f231" y="f211"/>
                  <a:pt x="f18" y="f210"/>
                  <a:pt x="f232" y="f210"/>
                </a:cubicBezTo>
                <a:cubicBezTo>
                  <a:pt x="f53" y="f201"/>
                  <a:pt x="f233" y="f210"/>
                  <a:pt x="f234" y="f210"/>
                </a:cubicBezTo>
                <a:cubicBezTo>
                  <a:pt x="f60" y="f230"/>
                  <a:pt x="f235" y="f230"/>
                  <a:pt x="f236" y="f210"/>
                </a:cubicBezTo>
                <a:cubicBezTo>
                  <a:pt x="f237" y="f210"/>
                  <a:pt x="f238" y="f210"/>
                  <a:pt x="f238" y="f210"/>
                </a:cubicBezTo>
                <a:cubicBezTo>
                  <a:pt x="f239" y="f210"/>
                  <a:pt x="f239" y="f208"/>
                  <a:pt x="f240" y="f161"/>
                </a:cubicBezTo>
                <a:cubicBezTo>
                  <a:pt x="f241" y="f163"/>
                  <a:pt x="f242" y="f163"/>
                  <a:pt x="f243" y="f163"/>
                </a:cubicBezTo>
                <a:cubicBezTo>
                  <a:pt x="f244" y="f163"/>
                  <a:pt x="f245" y="f163"/>
                  <a:pt x="f246" y="f163"/>
                </a:cubicBezTo>
                <a:cubicBezTo>
                  <a:pt x="f247" y="f163"/>
                  <a:pt x="f247" y="f161"/>
                  <a:pt x="f248" y="f210"/>
                </a:cubicBezTo>
                <a:cubicBezTo>
                  <a:pt x="f248" y="f208"/>
                  <a:pt x="f249" y="f250"/>
                  <a:pt x="f68" y="f250"/>
                </a:cubicBezTo>
                <a:cubicBezTo>
                  <a:pt x="f251" y="f165"/>
                  <a:pt x="f252" y="f198"/>
                  <a:pt x="f253" y="f198"/>
                </a:cubicBezTo>
                <a:cubicBezTo>
                  <a:pt x="f254" y="f198"/>
                  <a:pt x="f255" y="f250"/>
                  <a:pt x="f70" y="f250"/>
                </a:cubicBezTo>
                <a:cubicBezTo>
                  <a:pt x="f71" y="f198"/>
                  <a:pt x="f256" y="f196"/>
                  <a:pt x="f257" y="f195"/>
                </a:cubicBezTo>
                <a:cubicBezTo>
                  <a:pt x="f258" y="f193"/>
                  <a:pt x="f259" y="f260"/>
                  <a:pt x="f261" y="f169"/>
                </a:cubicBezTo>
                <a:cubicBezTo>
                  <a:pt x="f262" y="f195"/>
                  <a:pt x="f73" y="f167"/>
                  <a:pt x="f263" y="f264"/>
                </a:cubicBezTo>
                <a:cubicBezTo>
                  <a:pt x="f265" y="f196"/>
                  <a:pt x="f266" y="f165"/>
                  <a:pt x="f267" y="f198"/>
                </a:cubicBezTo>
                <a:cubicBezTo>
                  <a:pt x="f268" y="f250"/>
                  <a:pt x="f76" y="f165"/>
                  <a:pt x="f269" y="f198"/>
                </a:cubicBezTo>
                <a:cubicBezTo>
                  <a:pt x="f269" y="f250"/>
                  <a:pt x="f269" y="f201"/>
                  <a:pt x="f269" y="f161"/>
                </a:cubicBezTo>
                <a:cubicBezTo>
                  <a:pt x="f270" y="f161"/>
                  <a:pt x="f271" y="f208"/>
                  <a:pt x="f271" y="f211"/>
                </a:cubicBezTo>
                <a:cubicBezTo>
                  <a:pt x="f79" y="f230"/>
                  <a:pt x="f271" y="f159"/>
                  <a:pt x="f79" y="f228"/>
                </a:cubicBezTo>
                <a:cubicBezTo>
                  <a:pt x="f79" y="f228"/>
                  <a:pt x="f272" y="f157"/>
                  <a:pt x="f272" y="f220"/>
                </a:cubicBezTo>
                <a:cubicBezTo>
                  <a:pt x="f80" y="f220"/>
                  <a:pt x="f273" y="f154"/>
                  <a:pt x="f274" y="f226"/>
                </a:cubicBezTo>
                <a:cubicBezTo>
                  <a:pt x="f274" y="f152"/>
                  <a:pt x="f274" y="f223"/>
                  <a:pt x="f275" y="f150"/>
                </a:cubicBezTo>
                <a:cubicBezTo>
                  <a:pt x="f83" y="f276"/>
                  <a:pt x="f277" y="f150"/>
                  <a:pt x="f85" y="f150"/>
                </a:cubicBezTo>
                <a:cubicBezTo>
                  <a:pt x="f278" y="f150"/>
                  <a:pt x="f278" y="f276"/>
                  <a:pt x="f279" y="f276"/>
                </a:cubicBezTo>
                <a:cubicBezTo>
                  <a:pt x="f86" y="f276"/>
                  <a:pt x="f280" y="f276"/>
                  <a:pt x="f89" y="f281"/>
                </a:cubicBezTo>
                <a:cubicBezTo>
                  <a:pt x="f282" y="f148"/>
                  <a:pt x="f282" y="f283"/>
                  <a:pt x="f284" y="f285"/>
                </a:cubicBezTo>
                <a:cubicBezTo>
                  <a:pt x="f91" y="f285"/>
                  <a:pt x="f286" y="f285"/>
                  <a:pt x="f93" y="f285"/>
                </a:cubicBezTo>
                <a:cubicBezTo>
                  <a:pt x="f287" y="f285"/>
                  <a:pt x="f287" y="f285"/>
                  <a:pt x="f95" y="f288"/>
                </a:cubicBezTo>
                <a:cubicBezTo>
                  <a:pt x="f289" y="f290"/>
                  <a:pt x="f289" y="f291"/>
                  <a:pt x="f292" y="f145"/>
                </a:cubicBezTo>
                <a:cubicBezTo>
                  <a:pt x="f96" y="f145"/>
                  <a:pt x="f96" y="f293"/>
                  <a:pt x="f96" y="f294"/>
                </a:cubicBezTo>
                <a:cubicBezTo>
                  <a:pt x="f295" y="f294"/>
                  <a:pt x="f295" y="f294"/>
                  <a:pt x="f296" y="f297"/>
                </a:cubicBezTo>
                <a:cubicBezTo>
                  <a:pt x="f296" y="f144"/>
                  <a:pt x="f295" y="f143"/>
                  <a:pt x="f296" y="f142"/>
                </a:cubicBezTo>
                <a:cubicBezTo>
                  <a:pt x="f296" y="f142"/>
                  <a:pt x="f298" y="f140"/>
                  <a:pt x="f298" y="f140"/>
                </a:cubicBezTo>
                <a:cubicBezTo>
                  <a:pt x="f298" y="f140"/>
                  <a:pt x="f299" y="f300"/>
                  <a:pt x="f299" y="f300"/>
                </a:cubicBezTo>
                <a:cubicBezTo>
                  <a:pt x="f299" y="f138"/>
                  <a:pt x="f299" y="f138"/>
                  <a:pt x="f299" y="f138"/>
                </a:cubicBezTo>
                <a:cubicBezTo>
                  <a:pt x="f299" y="f138"/>
                  <a:pt x="f97" y="f137"/>
                  <a:pt x="f97" y="f137"/>
                </a:cubicBezTo>
                <a:cubicBezTo>
                  <a:pt x="f301" y="f136"/>
                  <a:pt x="f301" y="f134"/>
                  <a:pt x="f302" y="f131"/>
                </a:cubicBezTo>
                <a:cubicBezTo>
                  <a:pt x="f302" y="f131"/>
                  <a:pt x="f302" y="f130"/>
                  <a:pt x="f302" y="f130"/>
                </a:cubicBezTo>
                <a:cubicBezTo>
                  <a:pt x="f302" y="f303"/>
                  <a:pt x="f302" y="f125"/>
                  <a:pt x="f304" y="f305"/>
                </a:cubicBezTo>
                <a:cubicBezTo>
                  <a:pt x="f304" y="f121"/>
                  <a:pt x="f304" y="f306"/>
                  <a:pt x="f304" y="f307"/>
                </a:cubicBezTo>
                <a:cubicBezTo>
                  <a:pt x="f308" y="f309"/>
                  <a:pt x="f310" y="f309"/>
                  <a:pt x="f311" y="f309"/>
                </a:cubicBezTo>
                <a:cubicBezTo>
                  <a:pt x="f101" y="f120"/>
                  <a:pt x="f103" y="f118"/>
                  <a:pt x="f104" y="f116"/>
                </a:cubicBezTo>
                <a:cubicBezTo>
                  <a:pt x="f312" y="f313"/>
                  <a:pt x="f312" y="f114"/>
                  <a:pt x="f312" y="f112"/>
                </a:cubicBezTo>
                <a:cubicBezTo>
                  <a:pt x="f314" y="f108"/>
                  <a:pt x="f312" y="f106"/>
                  <a:pt x="f314" y="f312"/>
                </a:cubicBezTo>
                <a:cubicBezTo>
                  <a:pt x="f314" y="f103"/>
                  <a:pt x="f108" y="f311"/>
                  <a:pt x="f112" y="f99"/>
                </a:cubicBezTo>
                <a:cubicBezTo>
                  <a:pt x="f114" y="f99"/>
                  <a:pt x="f116" y="f308"/>
                  <a:pt x="f116" y="f304"/>
                </a:cubicBezTo>
                <a:cubicBezTo>
                  <a:pt x="f315" y="f302"/>
                  <a:pt x="f315" y="f97"/>
                  <a:pt x="f315" y="f299"/>
                </a:cubicBezTo>
                <a:cubicBezTo>
                  <a:pt x="f118" y="f298"/>
                  <a:pt x="f118" y="f296"/>
                  <a:pt x="f316" y="f295"/>
                </a:cubicBezTo>
                <a:cubicBezTo>
                  <a:pt x="f120" y="f96"/>
                  <a:pt x="f120" y="f292"/>
                  <a:pt x="f120" y="f289"/>
                </a:cubicBezTo>
                <a:cubicBezTo>
                  <a:pt x="f309" y="f95"/>
                  <a:pt x="f309" y="f95"/>
                  <a:pt x="f307" y="f95"/>
                </a:cubicBezTo>
                <a:cubicBezTo>
                  <a:pt x="f307" y="f287"/>
                  <a:pt x="f307" y="f93"/>
                  <a:pt x="f307" y="f286"/>
                </a:cubicBezTo>
                <a:cubicBezTo>
                  <a:pt x="f307" y="f91"/>
                  <a:pt x="f306" y="f317"/>
                  <a:pt x="f306" y="f282"/>
                </a:cubicBezTo>
                <a:cubicBezTo>
                  <a:pt x="f306" y="f280"/>
                  <a:pt x="f306" y="f279"/>
                  <a:pt x="f121" y="f318"/>
                </a:cubicBezTo>
                <a:cubicBezTo>
                  <a:pt x="f123" y="f85"/>
                  <a:pt x="f305" y="f319"/>
                  <a:pt x="f125" y="f319"/>
                </a:cubicBezTo>
                <a:cubicBezTo>
                  <a:pt x="f125" y="f277"/>
                  <a:pt x="f125" y="f277"/>
                  <a:pt x="f303" y="f84"/>
                </a:cubicBezTo>
                <a:cubicBezTo>
                  <a:pt x="f128" y="f84"/>
                  <a:pt x="f128" y="f84"/>
                  <a:pt x="f128" y="f84"/>
                </a:cubicBezTo>
                <a:cubicBezTo>
                  <a:pt x="f130" y="f84"/>
                  <a:pt x="f130" y="f84"/>
                  <a:pt x="f130" y="f320"/>
                </a:cubicBezTo>
                <a:cubicBezTo>
                  <a:pt x="f131" y="f320"/>
                  <a:pt x="f131" y="f275"/>
                  <a:pt x="f136" y="f275"/>
                </a:cubicBezTo>
                <a:cubicBezTo>
                  <a:pt x="f136" y="f275"/>
                  <a:pt x="f136" y="f275"/>
                  <a:pt x="f136" y="f274"/>
                </a:cubicBezTo>
                <a:cubicBezTo>
                  <a:pt x="f138" y="f274"/>
                  <a:pt x="f137" y="f321"/>
                  <a:pt x="f138" y="f273"/>
                </a:cubicBezTo>
                <a:cubicBezTo>
                  <a:pt x="f300" y="f81"/>
                  <a:pt x="f140" y="f81"/>
                  <a:pt x="f142" y="f322"/>
                </a:cubicBezTo>
                <a:cubicBezTo>
                  <a:pt x="f142" y="f80"/>
                  <a:pt x="f142" y="f323"/>
                  <a:pt x="f142" y="f323"/>
                </a:cubicBezTo>
                <a:cubicBezTo>
                  <a:pt x="f142" y="f272"/>
                  <a:pt x="f143" y="f272"/>
                  <a:pt x="f143" y="f79"/>
                </a:cubicBezTo>
                <a:cubicBezTo>
                  <a:pt x="f144" y="f271"/>
                  <a:pt x="f297" y="f270"/>
                  <a:pt x="f294" y="f269"/>
                </a:cubicBezTo>
                <a:cubicBezTo>
                  <a:pt x="f294" y="f78"/>
                  <a:pt x="f293" y="f76"/>
                  <a:pt x="f293" y="f324"/>
                </a:cubicBezTo>
                <a:cubicBezTo>
                  <a:pt x="f293" y="f324"/>
                  <a:pt x="f294" y="f325"/>
                  <a:pt x="f293" y="f75"/>
                </a:cubicBezTo>
                <a:cubicBezTo>
                  <a:pt x="f293" y="f75"/>
                  <a:pt x="f145" y="f75"/>
                  <a:pt x="f145" y="f268"/>
                </a:cubicBezTo>
                <a:cubicBezTo>
                  <a:pt x="f145" y="f268"/>
                  <a:pt x="f145" y="f326"/>
                  <a:pt x="f291" y="f327"/>
                </a:cubicBezTo>
                <a:cubicBezTo>
                  <a:pt x="f291" y="f327"/>
                  <a:pt x="f290" y="f267"/>
                  <a:pt x="f290" y="f267"/>
                </a:cubicBezTo>
                <a:cubicBezTo>
                  <a:pt x="f288" y="f266"/>
                  <a:pt x="f288" y="f265"/>
                  <a:pt x="f146" y="f263"/>
                </a:cubicBezTo>
                <a:cubicBezTo>
                  <a:pt x="f146" y="f73"/>
                  <a:pt x="f285" y="f73"/>
                  <a:pt x="f285" y="f73"/>
                </a:cubicBezTo>
                <a:cubicBezTo>
                  <a:pt x="f285" y="f263"/>
                  <a:pt x="f283" y="f72"/>
                  <a:pt x="f283" y="f72"/>
                </a:cubicBezTo>
                <a:cubicBezTo>
                  <a:pt x="f148" y="f72"/>
                  <a:pt x="f148" y="f261"/>
                  <a:pt x="f148" y="f261"/>
                </a:cubicBezTo>
                <a:cubicBezTo>
                  <a:pt x="f148" y="f261"/>
                  <a:pt x="f281" y="f328"/>
                  <a:pt x="f148" y="f328"/>
                </a:cubicBezTo>
                <a:cubicBezTo>
                  <a:pt x="f281" y="f329"/>
                  <a:pt x="f281" y="f259"/>
                  <a:pt x="f276" y="f330"/>
                </a:cubicBezTo>
                <a:cubicBezTo>
                  <a:pt x="f150" y="f330"/>
                  <a:pt x="f152" y="f330"/>
                  <a:pt x="f331" y="f330"/>
                </a:cubicBezTo>
                <a:cubicBezTo>
                  <a:pt x="f154" y="f330"/>
                  <a:pt x="f156" y="f330"/>
                  <a:pt x="f157" y="f259"/>
                </a:cubicBezTo>
                <a:cubicBezTo>
                  <a:pt x="f228" y="f329"/>
                  <a:pt x="f159" y="f329"/>
                  <a:pt x="f230" y="f329"/>
                </a:cubicBezTo>
                <a:cubicBezTo>
                  <a:pt x="f208" y="f329"/>
                  <a:pt x="f161" y="f332"/>
                  <a:pt x="f163" y="f258"/>
                </a:cubicBezTo>
                <a:cubicBezTo>
                  <a:pt x="f165" y="f333"/>
                  <a:pt x="f334" y="f71"/>
                  <a:pt x="f180" y="f256"/>
                </a:cubicBezTo>
                <a:cubicBezTo>
                  <a:pt x="f175" y="f256"/>
                  <a:pt x="f175" y="f335"/>
                  <a:pt x="f177" y="f335"/>
                </a:cubicBezTo>
                <a:cubicBezTo>
                  <a:pt x="f177" y="f335"/>
                  <a:pt x="f336" y="f335"/>
                  <a:pt x="f6" y="f335"/>
                </a:cubicBezTo>
                <a:cubicBezTo>
                  <a:pt x="f180" y="f254"/>
                  <a:pt x="f180" y="f254"/>
                  <a:pt x="f180" y="f254"/>
                </a:cubicBezTo>
                <a:cubicBezTo>
                  <a:pt x="f180" y="f337"/>
                  <a:pt x="f175" y="f253"/>
                  <a:pt x="f182" y="f338"/>
                </a:cubicBezTo>
                <a:cubicBezTo>
                  <a:pt x="f182" y="f251"/>
                  <a:pt x="f184" y="f251"/>
                  <a:pt x="f186" y="f251"/>
                </a:cubicBezTo>
                <a:cubicBezTo>
                  <a:pt x="f173" y="f339"/>
                  <a:pt x="f191" y="f339"/>
                  <a:pt x="f171" y="f340"/>
                </a:cubicBezTo>
                <a:cubicBezTo>
                  <a:pt x="f171" y="f247"/>
                  <a:pt x="f171" y="f248"/>
                  <a:pt x="f193" y="f247"/>
                </a:cubicBezTo>
                <a:cubicBezTo>
                  <a:pt x="f169" y="f247"/>
                  <a:pt x="f195" y="f341"/>
                  <a:pt x="f195" y="f246"/>
                </a:cubicBezTo>
                <a:cubicBezTo>
                  <a:pt x="f167" y="f342"/>
                  <a:pt x="f195" y="f342"/>
                  <a:pt x="f167" y="f245"/>
                </a:cubicBezTo>
                <a:cubicBezTo>
                  <a:pt x="f167" y="f245"/>
                  <a:pt x="f264" y="f343"/>
                  <a:pt x="f264" y="f343"/>
                </a:cubicBezTo>
                <a:cubicBezTo>
                  <a:pt x="f264" y="f244"/>
                  <a:pt x="f196" y="f243"/>
                  <a:pt x="f165" y="f243"/>
                </a:cubicBezTo>
                <a:cubicBezTo>
                  <a:pt x="f198" y="f243"/>
                  <a:pt x="f198" y="f344"/>
                  <a:pt x="f250" y="f344"/>
                </a:cubicBezTo>
                <a:cubicBezTo>
                  <a:pt x="f250" y="f244"/>
                  <a:pt x="f201" y="f344"/>
                  <a:pt x="f163" y="f344"/>
                </a:cubicBezTo>
                <a:cubicBezTo>
                  <a:pt x="f161" y="f344"/>
                  <a:pt x="f208" y="f344"/>
                  <a:pt x="f210" y="f243"/>
                </a:cubicBezTo>
                <a:cubicBezTo>
                  <a:pt x="f211" y="f242"/>
                  <a:pt x="f210" y="f64"/>
                  <a:pt x="f210" y="f241"/>
                </a:cubicBezTo>
                <a:cubicBezTo>
                  <a:pt x="f210" y="f62"/>
                  <a:pt x="f210" y="f239"/>
                  <a:pt x="f210" y="f238"/>
                </a:cubicBezTo>
                <a:cubicBezTo>
                  <a:pt x="f210" y="f237"/>
                  <a:pt x="f208" y="f237"/>
                  <a:pt x="f208" y="f236"/>
                </a:cubicBezTo>
                <a:cubicBezTo>
                  <a:pt x="f161" y="f345"/>
                  <a:pt x="f208" y="f346"/>
                  <a:pt x="f211" y="f346"/>
                </a:cubicBezTo>
                <a:cubicBezTo>
                  <a:pt x="f230" y="f60"/>
                  <a:pt x="f208" y="f347"/>
                  <a:pt x="f161" y="f348"/>
                </a:cubicBezTo>
                <a:cubicBezTo>
                  <a:pt x="f161" y="f349"/>
                  <a:pt x="f161" y="f234"/>
                  <a:pt x="f208" y="f233"/>
                </a:cubicBezTo>
                <a:cubicBezTo>
                  <a:pt x="f208" y="f350"/>
                  <a:pt x="f210" y="f350"/>
                  <a:pt x="f230" y="f350"/>
                </a:cubicBezTo>
                <a:cubicBezTo>
                  <a:pt x="f157" y="f351"/>
                  <a:pt x="f157" y="f351"/>
                  <a:pt x="f157" y="f352"/>
                </a:cubicBezTo>
                <a:cubicBezTo>
                  <a:pt x="f157" y="f353"/>
                  <a:pt x="f157" y="f354"/>
                  <a:pt x="f157" y="f232"/>
                </a:cubicBezTo>
                <a:cubicBezTo>
                  <a:pt x="f220" y="f53"/>
                  <a:pt x="f156" y="f231"/>
                  <a:pt x="f331" y="f18"/>
                </a:cubicBezTo>
                <a:cubicBezTo>
                  <a:pt x="f225" y="f20"/>
                  <a:pt x="f288" y="f20"/>
                  <a:pt x="f144" y="f20"/>
                </a:cubicBezTo>
                <a:cubicBezTo>
                  <a:pt x="f143" y="f20"/>
                  <a:pt x="f142" y="f20"/>
                  <a:pt x="f140" y="f16"/>
                </a:cubicBezTo>
                <a:cubicBezTo>
                  <a:pt x="f300" y="f227"/>
                  <a:pt x="f300" y="f227"/>
                  <a:pt x="f300" y="f23"/>
                </a:cubicBezTo>
                <a:cubicBezTo>
                  <a:pt x="f138" y="f23"/>
                  <a:pt x="f137" y="f23"/>
                  <a:pt x="f137" y="f14"/>
                </a:cubicBezTo>
                <a:cubicBezTo>
                  <a:pt x="f136" y="f51"/>
                  <a:pt x="f137" y="f51"/>
                  <a:pt x="f138" y="f12"/>
                </a:cubicBezTo>
                <a:cubicBezTo>
                  <a:pt x="f138" y="f27"/>
                  <a:pt x="f138" y="f33"/>
                  <a:pt x="f137" y="f10"/>
                </a:cubicBezTo>
                <a:cubicBezTo>
                  <a:pt x="f136" y="f46"/>
                  <a:pt x="f134" y="f46"/>
                  <a:pt x="f134" y="f44"/>
                </a:cubicBezTo>
                <a:cubicBezTo>
                  <a:pt x="f134" y="f9"/>
                  <a:pt x="f136" y="f37"/>
                  <a:pt x="f137" y="f41"/>
                </a:cubicBezTo>
                <a:cubicBezTo>
                  <a:pt x="f138" y="f355"/>
                  <a:pt x="f300" y="f355"/>
                  <a:pt x="f300" y="f356"/>
                </a:cubicBezTo>
                <a:cubicBezTo>
                  <a:pt x="f300" y="f356"/>
                  <a:pt x="f300" y="f357"/>
                  <a:pt x="f140" y="f357"/>
                </a:cubicBezTo>
                <a:cubicBezTo>
                  <a:pt x="f140" y="f358"/>
                  <a:pt x="f140" y="f358"/>
                  <a:pt x="f140" y="f358"/>
                </a:cubicBezTo>
                <a:cubicBezTo>
                  <a:pt x="f142" y="f359"/>
                  <a:pt x="f143" y="f359"/>
                  <a:pt x="f143" y="f224"/>
                </a:cubicBezTo>
                <a:cubicBezTo>
                  <a:pt x="f144" y="f360"/>
                  <a:pt x="f143" y="f221"/>
                  <a:pt x="f142" y="f219"/>
                </a:cubicBezTo>
                <a:cubicBezTo>
                  <a:pt x="f140" y="f361"/>
                  <a:pt x="f138" y="f361"/>
                  <a:pt x="f137" y="f218"/>
                </a:cubicBezTo>
                <a:cubicBezTo>
                  <a:pt x="f137" y="f218"/>
                  <a:pt x="f136" y="f217"/>
                  <a:pt x="f134" y="f362"/>
                </a:cubicBezTo>
                <a:cubicBezTo>
                  <a:pt x="f131" y="f363"/>
                  <a:pt x="f130" y="f364"/>
                  <a:pt x="f134" y="f365"/>
                </a:cubicBezTo>
                <a:cubicBezTo>
                  <a:pt x="f136" y="f365"/>
                  <a:pt x="f138" y="f364"/>
                  <a:pt x="f140" y="f365"/>
                </a:cubicBezTo>
                <a:cubicBezTo>
                  <a:pt x="f142" y="f365"/>
                  <a:pt x="f142" y="f366"/>
                  <a:pt x="f143" y="f367"/>
                </a:cubicBezTo>
                <a:cubicBezTo>
                  <a:pt x="f144" y="f215"/>
                  <a:pt x="f297" y="f215"/>
                  <a:pt x="f144" y="f368"/>
                </a:cubicBezTo>
                <a:cubicBezTo>
                  <a:pt x="f144" y="f369"/>
                  <a:pt x="f144" y="f370"/>
                  <a:pt x="f143" y="f371"/>
                </a:cubicBezTo>
                <a:cubicBezTo>
                  <a:pt x="f142" y="f371"/>
                  <a:pt x="f140" y="f371"/>
                  <a:pt x="f300" y="f371"/>
                </a:cubicBezTo>
                <a:cubicBezTo>
                  <a:pt x="f138" y="f371"/>
                  <a:pt x="f134" y="f371"/>
                  <a:pt x="f134" y="f371"/>
                </a:cubicBezTo>
                <a:cubicBezTo>
                  <a:pt x="f131" y="f372"/>
                  <a:pt x="f131" y="f372"/>
                  <a:pt x="f131" y="f214"/>
                </a:cubicBezTo>
                <a:cubicBezTo>
                  <a:pt x="f131" y="f214"/>
                  <a:pt x="f130" y="f373"/>
                  <a:pt x="f130" y="f373"/>
                </a:cubicBezTo>
                <a:cubicBezTo>
                  <a:pt x="f130" y="f374"/>
                  <a:pt x="f130" y="f374"/>
                  <a:pt x="f130" y="f375"/>
                </a:cubicBezTo>
                <a:cubicBezTo>
                  <a:pt x="f128" y="f376"/>
                  <a:pt x="f303" y="f376"/>
                  <a:pt x="f125" y="f377"/>
                </a:cubicBezTo>
                <a:cubicBezTo>
                  <a:pt x="f125" y="f377"/>
                  <a:pt x="f305" y="f377"/>
                  <a:pt x="f305" y="f377"/>
                </a:cubicBezTo>
                <a:cubicBezTo>
                  <a:pt x="f305" y="f377"/>
                  <a:pt x="f305" y="f377"/>
                  <a:pt x="f305" y="f377"/>
                </a:cubicBezTo>
                <a:cubicBezTo>
                  <a:pt x="f306" y="f213"/>
                  <a:pt x="f120" y="f378"/>
                  <a:pt x="f315" y="f212"/>
                </a:cubicBezTo>
                <a:cubicBezTo>
                  <a:pt x="f114" y="f209"/>
                  <a:pt x="f110" y="f207"/>
                  <a:pt x="f106" y="f379"/>
                </a:cubicBezTo>
                <a:cubicBezTo>
                  <a:pt x="f314" y="f379"/>
                  <a:pt x="f312" y="f206"/>
                  <a:pt x="f104" y="f206"/>
                </a:cubicBezTo>
                <a:cubicBezTo>
                  <a:pt x="f103" y="f380"/>
                  <a:pt x="f101" y="f380"/>
                  <a:pt x="f381" y="f205"/>
                </a:cubicBezTo>
                <a:cubicBezTo>
                  <a:pt x="f381" y="f205"/>
                  <a:pt x="f381" y="f382"/>
                  <a:pt x="f311" y="f382"/>
                </a:cubicBezTo>
                <a:cubicBezTo>
                  <a:pt x="f311" y="f383"/>
                  <a:pt x="f311" y="f383"/>
                  <a:pt x="f99" y="f383"/>
                </a:cubicBezTo>
                <a:cubicBezTo>
                  <a:pt x="f302" y="f204"/>
                  <a:pt x="f301" y="f204"/>
                  <a:pt x="f299" y="f384"/>
                </a:cubicBezTo>
                <a:cubicBezTo>
                  <a:pt x="f298" y="f382"/>
                  <a:pt x="f298" y="f384"/>
                  <a:pt x="f296" y="f385"/>
                </a:cubicBezTo>
                <a:cubicBezTo>
                  <a:pt x="f296" y="f385"/>
                  <a:pt x="f296" y="f205"/>
                  <a:pt x="f296" y="f205"/>
                </a:cubicBezTo>
                <a:cubicBezTo>
                  <a:pt x="f295" y="f380"/>
                  <a:pt x="f295" y="f206"/>
                  <a:pt x="f295" y="f206"/>
                </a:cubicBezTo>
                <a:cubicBezTo>
                  <a:pt x="f96" y="f379"/>
                  <a:pt x="f96" y="f386"/>
                  <a:pt x="f292" y="f386"/>
                </a:cubicBezTo>
                <a:cubicBezTo>
                  <a:pt x="f95" y="f387"/>
                  <a:pt x="f95" y="f378"/>
                  <a:pt x="f93" y="f213"/>
                </a:cubicBezTo>
                <a:cubicBezTo>
                  <a:pt x="f91" y="f377"/>
                  <a:pt x="f317" y="f212"/>
                  <a:pt x="f280" y="f209"/>
                </a:cubicBezTo>
                <a:cubicBezTo>
                  <a:pt x="f318" y="f207"/>
                  <a:pt x="f85" y="f207"/>
                  <a:pt x="f84" y="f379"/>
                </a:cubicBezTo>
                <a:cubicBezTo>
                  <a:pt x="f83" y="f206"/>
                  <a:pt x="f274" y="f380"/>
                  <a:pt x="f275" y="f382"/>
                </a:cubicBezTo>
                <a:cubicBezTo>
                  <a:pt x="f388" y="f383"/>
                  <a:pt x="f84" y="f383"/>
                  <a:pt x="f85" y="f383"/>
                </a:cubicBezTo>
                <a:cubicBezTo>
                  <a:pt x="f278" y="f204"/>
                  <a:pt x="f318" y="f204"/>
                  <a:pt x="f279" y="f389"/>
                </a:cubicBezTo>
                <a:cubicBezTo>
                  <a:pt x="f86" y="f389"/>
                  <a:pt x="f86" y="f389"/>
                  <a:pt x="f280" y="f390"/>
                </a:cubicBezTo>
                <a:cubicBezTo>
                  <a:pt x="f280" y="f390"/>
                  <a:pt x="f282" y="f390"/>
                  <a:pt x="f282" y="f391"/>
                </a:cubicBezTo>
                <a:cubicBezTo>
                  <a:pt x="f282" y="f392"/>
                  <a:pt x="f282" y="f392"/>
                  <a:pt x="f282" y="f203"/>
                </a:cubicBezTo>
                <a:cubicBezTo>
                  <a:pt x="f317" y="f203"/>
                  <a:pt x="f317" y="f203"/>
                  <a:pt x="f284" y="f393"/>
                </a:cubicBezTo>
                <a:cubicBezTo>
                  <a:pt x="f284" y="f394"/>
                  <a:pt x="f317" y="f394"/>
                  <a:pt x="f317" y="f395"/>
                </a:cubicBezTo>
                <a:cubicBezTo>
                  <a:pt x="f317" y="f202"/>
                  <a:pt x="f282" y="f396"/>
                  <a:pt x="f89" y="f396"/>
                </a:cubicBezTo>
                <a:cubicBezTo>
                  <a:pt x="f89" y="f397"/>
                  <a:pt x="f282" y="f200"/>
                  <a:pt x="f89" y="f199"/>
                </a:cubicBezTo>
                <a:cubicBezTo>
                  <a:pt x="f280" y="f398"/>
                  <a:pt x="f86" y="f398"/>
                  <a:pt x="f279" y="f197"/>
                </a:cubicBezTo>
                <a:cubicBezTo>
                  <a:pt x="f279" y="f197"/>
                  <a:pt x="f318" y="f399"/>
                  <a:pt x="f318" y="f194"/>
                </a:cubicBezTo>
                <a:cubicBezTo>
                  <a:pt x="f85" y="f400"/>
                  <a:pt x="f319" y="f190"/>
                  <a:pt x="f319" y="f401"/>
                </a:cubicBezTo>
                <a:cubicBezTo>
                  <a:pt x="f319" y="f402"/>
                  <a:pt x="f319" y="f188"/>
                  <a:pt x="f319" y="f403"/>
                </a:cubicBezTo>
                <a:cubicBezTo>
                  <a:pt x="f84" y="f403"/>
                  <a:pt x="f83" y="f404"/>
                  <a:pt x="f275" y="f404"/>
                </a:cubicBezTo>
                <a:cubicBezTo>
                  <a:pt x="f321" y="f187"/>
                  <a:pt x="f273" y="f405"/>
                  <a:pt x="f81" y="f406"/>
                </a:cubicBezTo>
                <a:cubicBezTo>
                  <a:pt x="f323" y="f407"/>
                  <a:pt x="f408" y="f183"/>
                  <a:pt x="f269" y="f181"/>
                </a:cubicBezTo>
                <a:cubicBezTo>
                  <a:pt x="f78" y="f409"/>
                  <a:pt x="f270" y="f179"/>
                  <a:pt x="f79" y="f410"/>
                </a:cubicBezTo>
                <a:cubicBezTo>
                  <a:pt x="f272" y="f411"/>
                  <a:pt x="f80" y="f412"/>
                  <a:pt x="f322" y="f413"/>
                </a:cubicBezTo>
                <a:cubicBezTo>
                  <a:pt x="f81" y="f413"/>
                  <a:pt x="f81" y="f414"/>
                  <a:pt x="f81" y="f415"/>
                </a:cubicBezTo>
                <a:cubicBezTo>
                  <a:pt x="f81" y="f416"/>
                  <a:pt x="f81" y="f417"/>
                  <a:pt x="f80" y="f170"/>
                </a:cubicBezTo>
                <a:cubicBezTo>
                  <a:pt x="f272" y="f418"/>
                  <a:pt x="f79" y="f418"/>
                  <a:pt x="f270" y="f418"/>
                </a:cubicBezTo>
                <a:cubicBezTo>
                  <a:pt x="f269" y="f418"/>
                  <a:pt x="f78" y="f168"/>
                  <a:pt x="f76" y="f168"/>
                </a:cubicBezTo>
                <a:cubicBezTo>
                  <a:pt x="f75" y="f419"/>
                  <a:pt x="f326" y="f420"/>
                  <a:pt x="f265" y="f420"/>
                </a:cubicBezTo>
                <a:cubicBezTo>
                  <a:pt x="f261" y="f420"/>
                  <a:pt x="f330" y="f170"/>
                  <a:pt x="f71" y="f170"/>
                </a:cubicBezTo>
                <a:cubicBezTo>
                  <a:pt x="f421" y="f170"/>
                  <a:pt x="f333" y="f170"/>
                  <a:pt x="f3" y="f168"/>
                </a:cubicBezTo>
                <a:cubicBezTo>
                  <a:pt x="f254" y="f168"/>
                  <a:pt x="f422" y="f419"/>
                  <a:pt x="f69" y="f166"/>
                </a:cubicBezTo>
                <a:cubicBezTo>
                  <a:pt x="f253" y="f166"/>
                  <a:pt x="f338" y="f166"/>
                  <a:pt x="f251" y="f423"/>
                </a:cubicBezTo>
                <a:cubicBezTo>
                  <a:pt x="f249" y="f424"/>
                  <a:pt x="f248" y="f164"/>
                  <a:pt x="f246" y="f425"/>
                </a:cubicBezTo>
                <a:cubicBezTo>
                  <a:pt x="f342" y="f162"/>
                  <a:pt x="f343" y="f426"/>
                  <a:pt x="f244" y="f426"/>
                </a:cubicBezTo>
                <a:cubicBezTo>
                  <a:pt x="f344" y="f426"/>
                  <a:pt x="f344" y="f162"/>
                  <a:pt x="f243" y="f162"/>
                </a:cubicBezTo>
                <a:cubicBezTo>
                  <a:pt x="f427" y="f162"/>
                  <a:pt x="f428" y="f160"/>
                  <a:pt x="f239" y="f158"/>
                </a:cubicBezTo>
                <a:cubicBezTo>
                  <a:pt x="f237" y="f158"/>
                  <a:pt x="f61" y="f158"/>
                  <a:pt x="f429" y="f160"/>
                </a:cubicBezTo>
                <a:cubicBezTo>
                  <a:pt x="f60" y="f430"/>
                  <a:pt x="f347" y="f426"/>
                  <a:pt x="f234" y="f426"/>
                </a:cubicBezTo>
                <a:cubicBezTo>
                  <a:pt x="f351" y="f162"/>
                  <a:pt x="f353" y="f426"/>
                  <a:pt x="f231" y="f431"/>
                </a:cubicBezTo>
                <a:cubicBezTo>
                  <a:pt x="f229" y="f431"/>
                  <a:pt x="f16" y="f431"/>
                  <a:pt x="f23" y="f426"/>
                </a:cubicBezTo>
                <a:cubicBezTo>
                  <a:pt x="f51" y="f162"/>
                  <a:pt x="f51" y="f425"/>
                  <a:pt x="f33" y="f162"/>
                </a:cubicBezTo>
                <a:cubicBezTo>
                  <a:pt x="f46" y="f426"/>
                  <a:pt x="f9" y="f160"/>
                  <a:pt x="f41" y="f160"/>
                </a:cubicBezTo>
                <a:cubicBezTo>
                  <a:pt x="f39" y="f160"/>
                  <a:pt x="f357" y="f160"/>
                  <a:pt x="f359" y="f160"/>
                </a:cubicBezTo>
                <a:cubicBezTo>
                  <a:pt x="f432" y="f158"/>
                  <a:pt x="f219" y="f155"/>
                  <a:pt x="f218" y="f153"/>
                </a:cubicBezTo>
                <a:cubicBezTo>
                  <a:pt x="f217" y="f153"/>
                  <a:pt x="f362" y="f433"/>
                  <a:pt x="f363" y="f433"/>
                </a:cubicBezTo>
                <a:cubicBezTo>
                  <a:pt x="f434" y="f433"/>
                  <a:pt x="f434" y="f433"/>
                  <a:pt x="f434" y="f433"/>
                </a:cubicBezTo>
                <a:cubicBezTo>
                  <a:pt x="f365" y="f433"/>
                  <a:pt x="f215" y="f8"/>
                  <a:pt x="f369" y="f8"/>
                </a:cubicBezTo>
                <a:cubicBezTo>
                  <a:pt x="f371" y="f8"/>
                  <a:pt x="f371" y="f8"/>
                  <a:pt x="f372" y="f151"/>
                </a:cubicBezTo>
                <a:cubicBezTo>
                  <a:pt x="f373" y="f433"/>
                  <a:pt x="f374" y="f433"/>
                  <a:pt x="f375" y="f153"/>
                </a:cubicBezTo>
                <a:cubicBezTo>
                  <a:pt x="f377" y="f158"/>
                  <a:pt x="f213" y="f158"/>
                  <a:pt x="f212" y="f158"/>
                </a:cubicBezTo>
                <a:cubicBezTo>
                  <a:pt x="f387" y="f158"/>
                  <a:pt x="f386" y="f155"/>
                  <a:pt x="f379" y="f160"/>
                </a:cubicBezTo>
                <a:cubicBezTo>
                  <a:pt x="f206" y="f430"/>
                  <a:pt x="f379" y="f431"/>
                  <a:pt x="f379" y="f426"/>
                </a:cubicBezTo>
                <a:cubicBezTo>
                  <a:pt x="f206" y="f425"/>
                  <a:pt x="f385" y="f164"/>
                  <a:pt x="f382" y="f424"/>
                </a:cubicBezTo>
                <a:cubicBezTo>
                  <a:pt x="f383" y="f423"/>
                  <a:pt x="f204" y="f166"/>
                  <a:pt x="f204" y="f168"/>
                </a:cubicBezTo>
                <a:cubicBezTo>
                  <a:pt x="f204" y="f418"/>
                  <a:pt x="f204" y="f170"/>
                  <a:pt x="f204" y="f420"/>
                </a:cubicBezTo>
                <a:cubicBezTo>
                  <a:pt x="f389" y="f417"/>
                  <a:pt x="f391" y="f172"/>
                  <a:pt x="f203" y="f174"/>
                </a:cubicBezTo>
                <a:cubicBezTo>
                  <a:pt x="f393" y="f2"/>
                  <a:pt x="f394" y="f435"/>
                  <a:pt x="f395" y="f435"/>
                </a:cubicBezTo>
                <a:cubicBezTo>
                  <a:pt x="f396" y="f176"/>
                  <a:pt x="f200" y="f176"/>
                  <a:pt x="f197" y="f415"/>
                </a:cubicBezTo>
                <a:cubicBezTo>
                  <a:pt x="f194" y="f414"/>
                  <a:pt x="f192" y="f414"/>
                  <a:pt x="f401" y="f414"/>
                </a:cubicBezTo>
                <a:cubicBezTo>
                  <a:pt x="f188" y="f436"/>
                  <a:pt x="f403" y="f436"/>
                  <a:pt x="f404" y="f178"/>
                </a:cubicBezTo>
                <a:cubicBezTo>
                  <a:pt x="f406" y="f413"/>
                  <a:pt x="f183" y="f411"/>
                  <a:pt x="f181" y="f411"/>
                </a:cubicBezTo>
                <a:cubicBezTo>
                  <a:pt x="f437" y="f411"/>
                  <a:pt x="f410" y="f411"/>
                  <a:pt x="f412" y="f411"/>
                </a:cubicBezTo>
                <a:cubicBezTo>
                  <a:pt x="f436" y="f411"/>
                  <a:pt x="f415" y="f411"/>
                  <a:pt x="f416" y="f410"/>
                </a:cubicBezTo>
                <a:cubicBezTo>
                  <a:pt x="f174" y="f179"/>
                  <a:pt x="f417" y="f409"/>
                  <a:pt x="f418" y="f438"/>
                </a:cubicBezTo>
                <a:cubicBezTo>
                  <a:pt x="f419" y="f181"/>
                  <a:pt x="f423" y="f439"/>
                  <a:pt x="f425" y="f440"/>
                </a:cubicBezTo>
                <a:cubicBezTo>
                  <a:pt x="f162" y="f440"/>
                  <a:pt x="f431" y="f181"/>
                  <a:pt x="f430" y="f438"/>
                </a:cubicBezTo>
                <a:cubicBezTo>
                  <a:pt x="f160" y="f438"/>
                  <a:pt x="f155" y="f437"/>
                  <a:pt x="f433" y="f409"/>
                </a:cubicBezTo>
                <a:cubicBezTo>
                  <a:pt x="f151" y="f179"/>
                  <a:pt x="f151" y="f410"/>
                  <a:pt x="f8" y="f411"/>
                </a:cubicBezTo>
                <a:cubicBezTo>
                  <a:pt x="f441" y="f412"/>
                  <a:pt x="f149" y="f412"/>
                  <a:pt x="f442" y="f413"/>
                </a:cubicBezTo>
                <a:cubicBezTo>
                  <a:pt x="f147" y="f413"/>
                  <a:pt x="f141" y="f178"/>
                  <a:pt x="f139" y="f178"/>
                </a:cubicBezTo>
                <a:cubicBezTo>
                  <a:pt x="f139" y="f178"/>
                  <a:pt x="f133" y="f178"/>
                  <a:pt x="f132" y="f178"/>
                </a:cubicBezTo>
                <a:cubicBezTo>
                  <a:pt x="f127" y="f178"/>
                  <a:pt x="f126" y="f436"/>
                  <a:pt x="f443" y="f414"/>
                </a:cubicBezTo>
                <a:cubicBezTo>
                  <a:pt x="f444" y="f414"/>
                  <a:pt x="f444" y="f414"/>
                  <a:pt x="f124" y="f414"/>
                </a:cubicBezTo>
                <a:cubicBezTo>
                  <a:pt x="f124" y="f414"/>
                  <a:pt x="f122" y="f436"/>
                  <a:pt x="f122" y="f436"/>
                </a:cubicBezTo>
                <a:cubicBezTo>
                  <a:pt x="f445" y="f436"/>
                  <a:pt x="f119" y="f436"/>
                  <a:pt x="f446" y="f436"/>
                </a:cubicBezTo>
                <a:cubicBezTo>
                  <a:pt x="f113" y="f436"/>
                  <a:pt x="f115" y="f436"/>
                  <a:pt x="f113" y="f415"/>
                </a:cubicBezTo>
                <a:cubicBezTo>
                  <a:pt x="f113" y="f176"/>
                  <a:pt x="f111" y="f176"/>
                  <a:pt x="f111" y="f416"/>
                </a:cubicBezTo>
                <a:cubicBezTo>
                  <a:pt x="f109" y="f416"/>
                  <a:pt x="f447" y="f2"/>
                  <a:pt x="f447" y="f2"/>
                </a:cubicBezTo>
                <a:cubicBezTo>
                  <a:pt x="f107" y="f2"/>
                  <a:pt x="f448" y="f2"/>
                  <a:pt x="f102" y="f2"/>
                </a:cubicBezTo>
                <a:cubicBezTo>
                  <a:pt x="f449" y="f435"/>
                  <a:pt x="f92" y="f414"/>
                  <a:pt x="f94" y="f176"/>
                </a:cubicBezTo>
                <a:cubicBezTo>
                  <a:pt x="f94" y="f416"/>
                  <a:pt x="f94" y="f416"/>
                  <a:pt x="f94" y="f435"/>
                </a:cubicBezTo>
                <a:cubicBezTo>
                  <a:pt x="f94" y="f435"/>
                  <a:pt x="f94" y="f2"/>
                  <a:pt x="f90" y="f2"/>
                </a:cubicBezTo>
                <a:cubicBezTo>
                  <a:pt x="f450" y="f172"/>
                  <a:pt x="f450" y="f172"/>
                  <a:pt x="f450" y="f420"/>
                </a:cubicBezTo>
                <a:cubicBezTo>
                  <a:pt x="f88" y="f170"/>
                  <a:pt x="f450" y="f418"/>
                  <a:pt x="f88" y="f168"/>
                </a:cubicBezTo>
                <a:cubicBezTo>
                  <a:pt x="f451" y="f419"/>
                  <a:pt x="f451" y="f419"/>
                  <a:pt x="f452" y="f419"/>
                </a:cubicBezTo>
                <a:cubicBezTo>
                  <a:pt x="f452" y="f419"/>
                  <a:pt x="f452" y="f166"/>
                  <a:pt x="f452" y="f166"/>
                </a:cubicBezTo>
                <a:cubicBezTo>
                  <a:pt x="f87" y="f423"/>
                  <a:pt x="f57" y="f423"/>
                  <a:pt x="f57" y="f164"/>
                </a:cubicBezTo>
                <a:cubicBezTo>
                  <a:pt x="f65" y="f164"/>
                  <a:pt x="f57" y="f425"/>
                  <a:pt x="f65" y="f425"/>
                </a:cubicBezTo>
                <a:cubicBezTo>
                  <a:pt x="f65" y="f162"/>
                  <a:pt x="f67" y="f426"/>
                  <a:pt x="f63" y="f426"/>
                </a:cubicBezTo>
                <a:cubicBezTo>
                  <a:pt x="f55" y="f431"/>
                  <a:pt x="f77" y="f431"/>
                  <a:pt x="f74" y="f430"/>
                </a:cubicBezTo>
                <a:cubicBezTo>
                  <a:pt x="f453" y="f430"/>
                  <a:pt x="f50" y="f160"/>
                  <a:pt x="f454" y="f158"/>
                </a:cubicBezTo>
                <a:cubicBezTo>
                  <a:pt x="f455" y="f158"/>
                  <a:pt x="f456" y="f158"/>
                  <a:pt x="f457" y="f158"/>
                </a:cubicBezTo>
                <a:cubicBezTo>
                  <a:pt x="f457" y="f158"/>
                  <a:pt x="f457" y="f158"/>
                  <a:pt x="f457" y="f158"/>
                </a:cubicBezTo>
                <a:cubicBezTo>
                  <a:pt x="f457" y="f158"/>
                  <a:pt x="f45" y="f158"/>
                  <a:pt x="f45" y="f158"/>
                </a:cubicBezTo>
                <a:cubicBezTo>
                  <a:pt x="f457" y="f158"/>
                  <a:pt x="f457" y="f158"/>
                  <a:pt x="f457" y="f158"/>
                </a:cubicBezTo>
                <a:cubicBezTo>
                  <a:pt x="f457" y="f160"/>
                  <a:pt x="f457" y="f430"/>
                  <a:pt x="f457" y="f431"/>
                </a:cubicBezTo>
                <a:cubicBezTo>
                  <a:pt x="f43" y="f164"/>
                  <a:pt x="f458" y="f166"/>
                  <a:pt x="f458" y="f418"/>
                </a:cubicBezTo>
                <a:cubicBezTo>
                  <a:pt x="f458" y="f172"/>
                  <a:pt x="f458" y="f435"/>
                  <a:pt x="f458" y="f415"/>
                </a:cubicBezTo>
                <a:cubicBezTo>
                  <a:pt x="f458" y="f409"/>
                  <a:pt x="f43" y="f407"/>
                  <a:pt x="f40" y="f402"/>
                </a:cubicBezTo>
                <a:cubicBezTo>
                  <a:pt x="f459" y="f460"/>
                  <a:pt x="f36" y="f192"/>
                  <a:pt x="f36" y="f399"/>
                </a:cubicBezTo>
                <a:cubicBezTo>
                  <a:pt x="f36" y="f398"/>
                  <a:pt x="f36" y="f199"/>
                  <a:pt x="f36" y="f200"/>
                </a:cubicBezTo>
                <a:cubicBezTo>
                  <a:pt x="f36" y="f200"/>
                  <a:pt x="f35" y="f397"/>
                  <a:pt x="f35" y="f397"/>
                </a:cubicBezTo>
                <a:cubicBezTo>
                  <a:pt x="f35" y="f396"/>
                  <a:pt x="f35" y="f202"/>
                  <a:pt x="f34" y="f395"/>
                </a:cubicBezTo>
                <a:cubicBezTo>
                  <a:pt x="f461" y="f393"/>
                  <a:pt x="f461" y="f392"/>
                  <a:pt x="f461" y="f389"/>
                </a:cubicBezTo>
                <a:cubicBezTo>
                  <a:pt x="f461" y="f204"/>
                  <a:pt x="f34" y="f384"/>
                  <a:pt x="f35" y="f382"/>
                </a:cubicBezTo>
                <a:cubicBezTo>
                  <a:pt x="f36" y="f385"/>
                  <a:pt x="f459" y="f385"/>
                  <a:pt x="f462" y="f380"/>
                </a:cubicBezTo>
                <a:cubicBezTo>
                  <a:pt x="f36" y="f380"/>
                  <a:pt x="f34" y="f380"/>
                  <a:pt x="f32" y="f380"/>
                </a:cubicBezTo>
                <a:cubicBezTo>
                  <a:pt x="f31" y="f380"/>
                  <a:pt x="f31" y="f206"/>
                  <a:pt x="f30" y="f386"/>
                </a:cubicBezTo>
                <a:cubicBezTo>
                  <a:pt x="f463" y="f387"/>
                  <a:pt x="f29" y="f209"/>
                  <a:pt x="f29" y="f378"/>
                </a:cubicBezTo>
                <a:cubicBezTo>
                  <a:pt x="f29" y="f376"/>
                  <a:pt x="f464" y="f375"/>
                  <a:pt x="f31" y="f373"/>
                </a:cubicBezTo>
                <a:cubicBezTo>
                  <a:pt x="f465" y="f370"/>
                  <a:pt x="f31" y="f366"/>
                  <a:pt x="f463" y="f365"/>
                </a:cubicBezTo>
                <a:cubicBezTo>
                  <a:pt x="f466" y="f364"/>
                  <a:pt x="f467" y="f365"/>
                  <a:pt x="f468" y="f364"/>
                </a:cubicBezTo>
                <a:cubicBezTo>
                  <a:pt x="f26" y="f364"/>
                  <a:pt x="f469" y="f363"/>
                  <a:pt x="f470" y="f363"/>
                </a:cubicBezTo>
                <a:cubicBezTo>
                  <a:pt x="f471" y="f366"/>
                  <a:pt x="f467" y="f367"/>
                  <a:pt x="f28" y="f371"/>
                </a:cubicBezTo>
                <a:cubicBezTo>
                  <a:pt x="f466" y="f375"/>
                  <a:pt x="f472" y="f373"/>
                  <a:pt x="f22" y="f374"/>
                </a:cubicBezTo>
                <a:cubicBezTo>
                  <a:pt x="f473" y="f374"/>
                  <a:pt x="f21" y="f373"/>
                  <a:pt x="f474" y="f374"/>
                </a:cubicBezTo>
                <a:cubicBezTo>
                  <a:pt x="f474" y="f375"/>
                  <a:pt x="f474" y="f376"/>
                  <a:pt x="f474" y="f377"/>
                </a:cubicBezTo>
                <a:cubicBezTo>
                  <a:pt x="f19" y="f213"/>
                  <a:pt x="f475" y="f377"/>
                  <a:pt x="f476" y="f377"/>
                </a:cubicBezTo>
                <a:cubicBezTo>
                  <a:pt x="f15" y="f377"/>
                  <a:pt x="f13" y="f377"/>
                  <a:pt x="f11" y="f373"/>
                </a:cubicBezTo>
                <a:cubicBezTo>
                  <a:pt x="f477" y="f214"/>
                  <a:pt x="f477" y="f372"/>
                  <a:pt x="f478" y="f371"/>
                </a:cubicBezTo>
                <a:cubicBezTo>
                  <a:pt x="f478" y="f370"/>
                  <a:pt x="f478" y="f215"/>
                  <a:pt x="f479" y="f367"/>
                </a:cubicBezTo>
                <a:cubicBezTo>
                  <a:pt x="f479" y="f365"/>
                  <a:pt x="f479" y="f216"/>
                  <a:pt x="f479" y="f363"/>
                </a:cubicBezTo>
                <a:cubicBezTo>
                  <a:pt x="f479" y="f218"/>
                  <a:pt x="f480" y="f221"/>
                  <a:pt x="f481" y="f360"/>
                </a:cubicBezTo>
                <a:cubicBezTo>
                  <a:pt x="f481" y="f358"/>
                  <a:pt x="f482" y="f39"/>
                  <a:pt x="f483" y="f41"/>
                </a:cubicBezTo>
                <a:cubicBezTo>
                  <a:pt x="f483" y="f41"/>
                  <a:pt x="f7" y="f9"/>
                  <a:pt x="f7" y="f9"/>
                </a:cubicBezTo>
              </a:path>
            </a:pathLst>
          </a:custGeom>
          <a:solidFill>
            <a:srgbClr val="92D050"/>
          </a:solidFill>
          <a:ln w="9528" cap="flat">
            <a:solidFill>
              <a:srgbClr val="FFFFFF"/>
            </a:solidFill>
            <a:prstDash val="solid"/>
            <a:round/>
          </a:ln>
        </p:spPr>
        <p:txBody>
          <a:bodyPr vert="horz" wrap="square" lIns="63303" tIns="31656" rIns="63303" bIns="3165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247" b="0" i="0" u="none" strike="noStrike" kern="1200" cap="none" spc="0" baseline="0">
              <a:solidFill>
                <a:srgbClr val="000000"/>
              </a:solidFill>
              <a:uFillTx/>
              <a:latin typeface="Arial"/>
            </a:endParaRPr>
          </a:p>
        </p:txBody>
      </p:sp>
      <p:pic>
        <p:nvPicPr>
          <p:cNvPr id="14" name="Elemento grafico 90" descr="Solar Panels with solid fill">
            <a:extLst>
              <a:ext uri="{FF2B5EF4-FFF2-40B4-BE49-F238E27FC236}">
                <a16:creationId xmlns:a16="http://schemas.microsoft.com/office/drawing/2014/main" id="{52590FCC-7E9A-4BDC-A2A7-27B13B7C61D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127468" y="5044010"/>
            <a:ext cx="214357" cy="214357"/>
          </a:xfrm>
          <a:prstGeom prst="rect">
            <a:avLst/>
          </a:prstGeom>
        </p:spPr>
      </p:pic>
      <p:pic>
        <p:nvPicPr>
          <p:cNvPr id="13" name="Elemento grafico 91" descr="Solar Panels with solid fill">
            <a:extLst>
              <a:ext uri="{FF2B5EF4-FFF2-40B4-BE49-F238E27FC236}">
                <a16:creationId xmlns:a16="http://schemas.microsoft.com/office/drawing/2014/main" id="{32FED554-6542-4E21-920F-D2DC32A92EB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174434" y="4934616"/>
            <a:ext cx="214378" cy="214378"/>
          </a:xfrm>
          <a:prstGeom prst="rect">
            <a:avLst/>
          </a:prstGeom>
        </p:spPr>
      </p:pic>
      <p:pic>
        <p:nvPicPr>
          <p:cNvPr id="11" name="Elemento grafico 92" descr="Solar Panels with solid fill">
            <a:extLst>
              <a:ext uri="{FF2B5EF4-FFF2-40B4-BE49-F238E27FC236}">
                <a16:creationId xmlns:a16="http://schemas.microsoft.com/office/drawing/2014/main" id="{8D840095-7CE4-4360-AFE7-61D2C0512DF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43762" y="5116514"/>
            <a:ext cx="214378" cy="214378"/>
          </a:xfrm>
          <a:prstGeom prst="rect">
            <a:avLst/>
          </a:prstGeom>
        </p:spPr>
      </p:pic>
      <p:pic>
        <p:nvPicPr>
          <p:cNvPr id="9" name="Elemento grafico 93" descr="Solar Panels with solid fill">
            <a:extLst>
              <a:ext uri="{FF2B5EF4-FFF2-40B4-BE49-F238E27FC236}">
                <a16:creationId xmlns:a16="http://schemas.microsoft.com/office/drawing/2014/main" id="{7E77C1A7-5449-4315-9F98-7DEF41AAEDC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127468" y="5260063"/>
            <a:ext cx="214378" cy="214378"/>
          </a:xfrm>
          <a:prstGeom prst="rect">
            <a:avLst/>
          </a:prstGeom>
        </p:spPr>
      </p:pic>
      <p:pic>
        <p:nvPicPr>
          <p:cNvPr id="16" name="Elemento grafico 96" descr="Solar Panels with solid fill">
            <a:extLst>
              <a:ext uri="{FF2B5EF4-FFF2-40B4-BE49-F238E27FC236}">
                <a16:creationId xmlns:a16="http://schemas.microsoft.com/office/drawing/2014/main" id="{AF60D9CD-28A3-4E4D-AA4C-5BF36A3023E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197996" y="5763482"/>
            <a:ext cx="214378" cy="214378"/>
          </a:xfrm>
          <a:prstGeom prst="rect">
            <a:avLst/>
          </a:prstGeom>
        </p:spPr>
      </p:pic>
      <p:pic>
        <p:nvPicPr>
          <p:cNvPr id="17" name="Elemento grafico 97" descr="Solar Panels with solid fill">
            <a:extLst>
              <a:ext uri="{FF2B5EF4-FFF2-40B4-BE49-F238E27FC236}">
                <a16:creationId xmlns:a16="http://schemas.microsoft.com/office/drawing/2014/main" id="{7177CB2A-5FC7-46CD-8B48-7DFAFD878A8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547340" y="5719279"/>
            <a:ext cx="214378" cy="214378"/>
          </a:xfrm>
          <a:prstGeom prst="rect">
            <a:avLst/>
          </a:prstGeom>
        </p:spPr>
      </p:pic>
      <p:pic>
        <p:nvPicPr>
          <p:cNvPr id="20" name="Elemento grafico 97" descr="Wind Turbines with solid fill">
            <a:extLst>
              <a:ext uri="{FF2B5EF4-FFF2-40B4-BE49-F238E27FC236}">
                <a16:creationId xmlns:a16="http://schemas.microsoft.com/office/drawing/2014/main" id="{82FA61F1-6BD3-766B-BACA-693E3A01D5D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1092481" y="5858483"/>
            <a:ext cx="228600" cy="228600"/>
          </a:xfrm>
          <a:prstGeom prst="rect">
            <a:avLst/>
          </a:prstGeom>
        </p:spPr>
      </p:pic>
      <p:pic>
        <p:nvPicPr>
          <p:cNvPr id="21" name="Elemento grafico 96" descr="Solar Panels with solid fill">
            <a:extLst>
              <a:ext uri="{FF2B5EF4-FFF2-40B4-BE49-F238E27FC236}">
                <a16:creationId xmlns:a16="http://schemas.microsoft.com/office/drawing/2014/main" id="{9821CE85-955E-1737-8934-4283951B863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084060" y="5650190"/>
            <a:ext cx="214378" cy="214378"/>
          </a:xfrm>
          <a:prstGeom prst="rect">
            <a:avLst/>
          </a:prstGeom>
        </p:spPr>
      </p:pic>
      <p:sp>
        <p:nvSpPr>
          <p:cNvPr id="18" name="Inhaltsplatzhalter 8">
            <a:extLst>
              <a:ext uri="{FF2B5EF4-FFF2-40B4-BE49-F238E27FC236}">
                <a16:creationId xmlns:a16="http://schemas.microsoft.com/office/drawing/2014/main" id="{FEE9EA67-1936-FEA7-CFC1-5E09CD15F361}"/>
              </a:ext>
            </a:extLst>
          </p:cNvPr>
          <p:cNvSpPr txBox="1">
            <a:spLocks/>
          </p:cNvSpPr>
          <p:nvPr/>
        </p:nvSpPr>
        <p:spPr>
          <a:xfrm>
            <a:off x="414927" y="2880870"/>
            <a:ext cx="11796937" cy="1950185"/>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266700" marR="0" lvl="2" indent="-266700" algn="l" defTabSz="914400" rtl="0" eaLnBrk="1" fontAlgn="auto" latinLnBrk="0" hangingPunct="1">
              <a:lnSpc>
                <a:spcPct val="100000"/>
              </a:lnSpc>
              <a:spcBef>
                <a:spcPts val="500"/>
              </a:spcBef>
              <a:spcAft>
                <a:spcPts val="300"/>
              </a:spcAft>
              <a:buClr>
                <a:srgbClr val="78B90F"/>
              </a:buClr>
              <a:buSzPct val="90000"/>
              <a:buFont typeface="Wingdings" panose="05000000000000000000" pitchFamily="2" charset="2"/>
              <a:buChar char="n"/>
              <a:tabLst/>
              <a:defRPr/>
            </a:pPr>
            <a:r>
              <a:rPr lang="en-US" dirty="0">
                <a:solidFill>
                  <a:prstClr val="black"/>
                </a:solidFill>
                <a:latin typeface="Arial"/>
                <a:sym typeface="Wingdings" panose="05000000000000000000" pitchFamily="2" charset="2"/>
              </a:rPr>
              <a:t>Romanian market entry made in 2021</a:t>
            </a:r>
          </a:p>
          <a:p>
            <a:pPr marL="266700" marR="0" lvl="2" indent="-266700" algn="l" defTabSz="914400" rtl="0" eaLnBrk="1" fontAlgn="auto" latinLnBrk="0" hangingPunct="1">
              <a:lnSpc>
                <a:spcPct val="100000"/>
              </a:lnSpc>
              <a:spcBef>
                <a:spcPts val="500"/>
              </a:spcBef>
              <a:spcAft>
                <a:spcPts val="300"/>
              </a:spcAft>
              <a:buClr>
                <a:srgbClr val="78B90F"/>
              </a:buClr>
              <a:buSzPct val="90000"/>
              <a:buFont typeface="Wingdings" panose="05000000000000000000" pitchFamily="2" charset="2"/>
              <a:buChar char="n"/>
              <a:tabLst/>
              <a:defRPr/>
            </a:pPr>
            <a:r>
              <a:rPr lang="en-US" dirty="0">
                <a:solidFill>
                  <a:prstClr val="black"/>
                </a:solidFill>
                <a:latin typeface="Arial"/>
                <a:sym typeface="Wingdings" panose="05000000000000000000" pitchFamily="2" charset="2"/>
              </a:rPr>
              <a:t>Local establishment of BayWa r.e. Romania S.R.L since 2022, with offices in Bucharest and Sibiu </a:t>
            </a:r>
          </a:p>
          <a:p>
            <a:pPr marL="266700" marR="0" lvl="2" indent="-266700" algn="l" defTabSz="914400" rtl="0" eaLnBrk="1" fontAlgn="auto" latinLnBrk="0" hangingPunct="1">
              <a:lnSpc>
                <a:spcPct val="100000"/>
              </a:lnSpc>
              <a:spcBef>
                <a:spcPts val="500"/>
              </a:spcBef>
              <a:spcAft>
                <a:spcPts val="300"/>
              </a:spcAft>
              <a:buClr>
                <a:srgbClr val="78B90F"/>
              </a:buClr>
              <a:buSzPct val="90000"/>
              <a:buFont typeface="Wingdings" panose="05000000000000000000" pitchFamily="2" charset="2"/>
              <a:buChar char="n"/>
              <a:tabLst/>
              <a:defRPr/>
            </a:pPr>
            <a:r>
              <a:rPr lang="en-US" dirty="0">
                <a:solidFill>
                  <a:prstClr val="black"/>
                </a:solidFill>
                <a:latin typeface="Arial"/>
                <a:sym typeface="Wingdings" panose="05000000000000000000" pitchFamily="2" charset="2"/>
              </a:rPr>
              <a:t>First large-scale project execution planned for 2025 </a:t>
            </a:r>
          </a:p>
          <a:p>
            <a:pPr marL="266700" marR="0" lvl="2" indent="-266700" algn="l" defTabSz="914400" rtl="0" eaLnBrk="1" fontAlgn="auto" latinLnBrk="0" hangingPunct="1">
              <a:lnSpc>
                <a:spcPct val="100000"/>
              </a:lnSpc>
              <a:spcBef>
                <a:spcPts val="500"/>
              </a:spcBef>
              <a:spcAft>
                <a:spcPts val="300"/>
              </a:spcAft>
              <a:buClr>
                <a:srgbClr val="78B90F"/>
              </a:buClr>
              <a:buSzPct val="90000"/>
              <a:buFont typeface="Wingdings" panose="05000000000000000000" pitchFamily="2" charset="2"/>
              <a:buChar char="n"/>
              <a:tabLst/>
              <a:defRPr/>
            </a:pPr>
            <a:r>
              <a:rPr lang="en-US" dirty="0">
                <a:solidFill>
                  <a:prstClr val="black"/>
                </a:solidFill>
                <a:latin typeface="Arial"/>
                <a:sym typeface="Wingdings" panose="05000000000000000000" pitchFamily="2" charset="2"/>
              </a:rPr>
              <a:t>Priority to deliver production to corporate and industrial off-takers through PPAs</a:t>
            </a:r>
          </a:p>
        </p:txBody>
      </p:sp>
    </p:spTree>
    <p:extLst>
      <p:ext uri="{BB962C8B-B14F-4D97-AF65-F5344CB8AC3E}">
        <p14:creationId xmlns:p14="http://schemas.microsoft.com/office/powerpoint/2010/main" val="696061091"/>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F1CC5EF-D243-4D82-8F8C-AF158ACBD1D2}"/>
              </a:ext>
            </a:extLst>
          </p:cNvPr>
          <p:cNvSpPr>
            <a:spLocks noGrp="1"/>
          </p:cNvSpPr>
          <p:nvPr>
            <p:ph type="title"/>
          </p:nvPr>
        </p:nvSpPr>
        <p:spPr>
          <a:xfrm>
            <a:off x="407367" y="692696"/>
            <a:ext cx="11376645" cy="648000"/>
          </a:xfrm>
        </p:spPr>
        <p:txBody>
          <a:bodyPr vert="horz" lIns="0" tIns="0" rIns="0" bIns="0" rtlCol="0" anchor="t">
            <a:normAutofit/>
          </a:bodyPr>
          <a:lstStyle/>
          <a:p>
            <a:r>
              <a:rPr lang="en-US" sz="1800" b="1" kern="1200" dirty="0">
                <a:latin typeface="+mj-lt"/>
                <a:ea typeface="+mj-ea"/>
                <a:cs typeface="+mj-cs"/>
              </a:rPr>
              <a:t>Reliable partner for developing solar parks, focusing on quality and taking our work to the next level with Floating-PV and Agri-PV</a:t>
            </a:r>
          </a:p>
        </p:txBody>
      </p:sp>
      <p:pic>
        <p:nvPicPr>
          <p:cNvPr id="12" name="Content Placeholder 11">
            <a:extLst>
              <a:ext uri="{FF2B5EF4-FFF2-40B4-BE49-F238E27FC236}">
                <a16:creationId xmlns:a16="http://schemas.microsoft.com/office/drawing/2014/main" id="{8194176D-2C87-6718-F4B8-0838CFEEBCEA}"/>
              </a:ext>
            </a:extLst>
          </p:cNvPr>
          <p:cNvPicPr>
            <a:picLocks noGrp="1" noChangeAspect="1"/>
          </p:cNvPicPr>
          <p:nvPr>
            <p:ph type="pic" sz="quarter" idx="10"/>
          </p:nvPr>
        </p:nvPicPr>
        <p:blipFill rotWithShape="1">
          <a:blip r:embed="rId5">
            <a:extLst>
              <a:ext uri="{28A0092B-C50C-407E-A947-70E740481C1C}">
                <a14:useLocalDpi xmlns:a14="http://schemas.microsoft.com/office/drawing/2010/main" val="0"/>
              </a:ext>
            </a:extLst>
          </a:blip>
          <a:srcRect t="26476" b="26476"/>
          <a:stretch/>
        </p:blipFill>
        <p:spPr>
          <a:xfrm>
            <a:off x="1058304" y="1470278"/>
            <a:ext cx="4592688" cy="2519061"/>
          </a:xfrm>
          <a:noFill/>
        </p:spPr>
      </p:pic>
      <p:sp>
        <p:nvSpPr>
          <p:cNvPr id="29" name="Slide Number Placeholder 3">
            <a:extLst>
              <a:ext uri="{FF2B5EF4-FFF2-40B4-BE49-F238E27FC236}">
                <a16:creationId xmlns:a16="http://schemas.microsoft.com/office/drawing/2014/main" id="{05867EA5-CE9A-9CE9-744E-F0217DDA2C1F}"/>
              </a:ext>
            </a:extLst>
          </p:cNvPr>
          <p:cNvSpPr>
            <a:spLocks noGrp="1"/>
          </p:cNvSpPr>
          <p:nvPr>
            <p:ph type="sldNum" sz="quarter" idx="12"/>
          </p:nvPr>
        </p:nvSpPr>
        <p:spPr>
          <a:xfrm>
            <a:off x="11568632" y="6561368"/>
            <a:ext cx="216000" cy="180000"/>
          </a:xfrm>
        </p:spPr>
        <p:txBody>
          <a:bodyPr vert="horz" wrap="none" lIns="0" tIns="0" rIns="0" bIns="0" rtlCol="0" anchor="ctr">
            <a:normAutofit/>
          </a:bodyPr>
          <a:lstStyle/>
          <a:p>
            <a:pPr>
              <a:spcAft>
                <a:spcPts val="600"/>
              </a:spcAft>
            </a:pPr>
            <a:fld id="{3B140A39-527A-45CF-A911-B921024B92E6}" type="slidenum">
              <a:rPr lang="en-US" smtClean="0"/>
              <a:pPr>
                <a:spcAft>
                  <a:spcPts val="600"/>
                </a:spcAft>
              </a:pPr>
              <a:t>6</a:t>
            </a:fld>
            <a:endParaRPr lang="en-US"/>
          </a:p>
        </p:txBody>
      </p:sp>
      <p:sp>
        <p:nvSpPr>
          <p:cNvPr id="44" name="Text Placeholder 12">
            <a:extLst>
              <a:ext uri="{FF2B5EF4-FFF2-40B4-BE49-F238E27FC236}">
                <a16:creationId xmlns:a16="http://schemas.microsoft.com/office/drawing/2014/main" id="{276F8747-2C56-56A2-72F5-5E09A367A920}"/>
              </a:ext>
            </a:extLst>
          </p:cNvPr>
          <p:cNvSpPr>
            <a:spLocks noGrp="1"/>
          </p:cNvSpPr>
          <p:nvPr>
            <p:ph type="body" sz="quarter" idx="38"/>
          </p:nvPr>
        </p:nvSpPr>
        <p:spPr>
          <a:xfrm>
            <a:off x="2121677" y="3625216"/>
            <a:ext cx="3529315" cy="360000"/>
          </a:xfrm>
        </p:spPr>
        <p:txBody>
          <a:bodyPr/>
          <a:lstStyle/>
          <a:p>
            <a:endParaRPr lang="en-US" dirty="0"/>
          </a:p>
        </p:txBody>
      </p:sp>
      <p:sp>
        <p:nvSpPr>
          <p:cNvPr id="3" name="Foliennummernplatzhalter 2" hidden="1">
            <a:extLst>
              <a:ext uri="{FF2B5EF4-FFF2-40B4-BE49-F238E27FC236}">
                <a16:creationId xmlns:a16="http://schemas.microsoft.com/office/drawing/2014/main" id="{4718BD8C-01E7-469D-84F0-58AB0877BC8B}"/>
              </a:ext>
            </a:extLst>
          </p:cNvPr>
          <p:cNvSpPr>
            <a:spLocks noGrp="1"/>
          </p:cNvSpPr>
          <p:nvPr>
            <p:ph type="sldNum" sz="quarter" idx="4294967295"/>
          </p:nvPr>
        </p:nvSpPr>
        <p:spPr>
          <a:xfrm>
            <a:off x="11568632" y="6561368"/>
            <a:ext cx="216000" cy="180000"/>
          </a:xfrm>
        </p:spPr>
        <p:txBody>
          <a:bodyPr wrap="none" anchor="ctr">
            <a:normAutofit/>
          </a:bodyPr>
          <a:lstStyle/>
          <a:p>
            <a:pPr>
              <a:spcAft>
                <a:spcPts val="600"/>
              </a:spcAft>
            </a:pPr>
            <a:fld id="{3B140A39-527A-45CF-A911-B921024B92E6}" type="slidenum">
              <a:rPr lang="en-GB" smtClean="0"/>
              <a:pPr>
                <a:spcAft>
                  <a:spcPts val="600"/>
                </a:spcAft>
              </a:pPr>
              <a:t>6</a:t>
            </a:fld>
            <a:endParaRPr lang="en-GB"/>
          </a:p>
        </p:txBody>
      </p:sp>
      <p:sp>
        <p:nvSpPr>
          <p:cNvPr id="27" name="Textplatzhalter 15">
            <a:extLst>
              <a:ext uri="{FF2B5EF4-FFF2-40B4-BE49-F238E27FC236}">
                <a16:creationId xmlns:a16="http://schemas.microsoft.com/office/drawing/2014/main" id="{EE91AA98-71E1-F1E9-F576-0B6025E1419C}"/>
              </a:ext>
            </a:extLst>
          </p:cNvPr>
          <p:cNvSpPr txBox="1">
            <a:spLocks/>
          </p:cNvSpPr>
          <p:nvPr>
            <p:custDataLst>
              <p:tags r:id="rId1"/>
            </p:custDataLst>
          </p:nvPr>
        </p:nvSpPr>
        <p:spPr bwMode="gray">
          <a:xfrm>
            <a:off x="1058304" y="4229541"/>
            <a:ext cx="4592688" cy="1485459"/>
          </a:xfrm>
          <a:prstGeom prst="roundRect">
            <a:avLst>
              <a:gd name="adj" fmla="val 4643"/>
            </a:avLst>
          </a:prstGeom>
          <a:solidFill>
            <a:schemeClr val="accent1"/>
          </a:solidFill>
          <a:ln>
            <a:noFill/>
          </a:ln>
        </p:spPr>
        <p:txBody>
          <a:bodyPr lIns="108000" tIns="72000" rIns="108000" bIns="7200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We are a market leader in Floating-PV in Europe, with over 2GWp Floating-PV pipeline.</a:t>
            </a:r>
            <a:r>
              <a:rPr lang="en-US" b="0" dirty="0">
                <a:solidFill>
                  <a:prstClr val="white"/>
                </a:solidFill>
                <a:latin typeface="Arial"/>
              </a:rPr>
              <a:t> Our patented floating transformer station guarantees highest electrical efficiency for highest yields.</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Textplatzhalter 15">
            <a:extLst>
              <a:ext uri="{FF2B5EF4-FFF2-40B4-BE49-F238E27FC236}">
                <a16:creationId xmlns:a16="http://schemas.microsoft.com/office/drawing/2014/main" id="{26408EAB-AFF6-7DAB-F2BD-CA74BB510757}"/>
              </a:ext>
            </a:extLst>
          </p:cNvPr>
          <p:cNvSpPr txBox="1">
            <a:spLocks/>
          </p:cNvSpPr>
          <p:nvPr>
            <p:custDataLst>
              <p:tags r:id="rId2"/>
            </p:custDataLst>
          </p:nvPr>
        </p:nvSpPr>
        <p:spPr bwMode="gray">
          <a:xfrm>
            <a:off x="6470036" y="4229540"/>
            <a:ext cx="4663660" cy="1485459"/>
          </a:xfrm>
          <a:prstGeom prst="roundRect">
            <a:avLst>
              <a:gd name="adj" fmla="val 4643"/>
            </a:avLst>
          </a:prstGeom>
          <a:solidFill>
            <a:schemeClr val="accent1"/>
          </a:solidFill>
          <a:ln>
            <a:noFill/>
          </a:ln>
        </p:spPr>
        <p:txBody>
          <a:bodyPr lIns="108000" tIns="72000" rIns="108000" bIns="7200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Arial"/>
                <a:ea typeface="+mn-ea"/>
                <a:cs typeface="+mn-cs"/>
              </a:rPr>
              <a:t>Agriculture is woven into our DNA through our parent company, BayWa AG. Having already developed over 1,2 </a:t>
            </a:r>
            <a:r>
              <a:rPr kumimoji="0" lang="en-US" b="0" i="0" u="none" strike="noStrike" kern="1200" cap="none" spc="0" normalizeH="0" baseline="0" noProof="0" dirty="0" err="1">
                <a:ln>
                  <a:noFill/>
                </a:ln>
                <a:solidFill>
                  <a:prstClr val="white"/>
                </a:solidFill>
                <a:effectLst/>
                <a:uLnTx/>
                <a:uFillTx/>
                <a:latin typeface="Arial"/>
                <a:ea typeface="+mn-ea"/>
                <a:cs typeface="+mn-cs"/>
              </a:rPr>
              <a:t>GWp</a:t>
            </a:r>
            <a:r>
              <a:rPr kumimoji="0" lang="en-US" b="0" i="0" u="none" strike="noStrike" kern="1200" cap="none" spc="0" normalizeH="0" baseline="0" noProof="0" dirty="0">
                <a:ln>
                  <a:noFill/>
                </a:ln>
                <a:solidFill>
                  <a:prstClr val="white"/>
                </a:solidFill>
                <a:effectLst/>
                <a:uLnTx/>
                <a:uFillTx/>
                <a:latin typeface="Arial"/>
                <a:ea typeface="+mn-ea"/>
                <a:cs typeface="+mn-cs"/>
              </a:rPr>
              <a:t> of Agri</a:t>
            </a:r>
            <a:r>
              <a:rPr lang="en-US" b="0" dirty="0">
                <a:solidFill>
                  <a:prstClr val="white"/>
                </a:solidFill>
                <a:latin typeface="Arial"/>
              </a:rPr>
              <a:t>-PV projects, o</a:t>
            </a:r>
            <a:r>
              <a:rPr kumimoji="0" lang="en-US" b="0" i="0" u="none" strike="noStrike" kern="1200" cap="none" spc="0" normalizeH="0" baseline="0" noProof="0" dirty="0" err="1">
                <a:ln>
                  <a:noFill/>
                </a:ln>
                <a:solidFill>
                  <a:prstClr val="white"/>
                </a:solidFill>
                <a:effectLst/>
                <a:uLnTx/>
                <a:uFillTx/>
                <a:latin typeface="Arial"/>
                <a:ea typeface="+mn-ea"/>
                <a:cs typeface="+mn-cs"/>
              </a:rPr>
              <a:t>ur</a:t>
            </a:r>
            <a:r>
              <a:rPr kumimoji="0" lang="en-US" b="0" i="0" u="none" strike="noStrike" kern="1200" cap="none" spc="0" normalizeH="0" baseline="0" noProof="0" dirty="0">
                <a:ln>
                  <a:noFill/>
                </a:ln>
                <a:solidFill>
                  <a:prstClr val="white"/>
                </a:solidFill>
                <a:effectLst/>
                <a:uLnTx/>
                <a:uFillTx/>
                <a:latin typeface="Arial"/>
                <a:ea typeface="+mn-ea"/>
                <a:cs typeface="+mn-cs"/>
              </a:rPr>
              <a:t> mission is to implement the almost inexhaustible potential of Agri-PV worldwide.</a:t>
            </a:r>
          </a:p>
        </p:txBody>
      </p:sp>
      <p:pic>
        <p:nvPicPr>
          <p:cNvPr id="33" name="Content Placeholder 11">
            <a:extLst>
              <a:ext uri="{FF2B5EF4-FFF2-40B4-BE49-F238E27FC236}">
                <a16:creationId xmlns:a16="http://schemas.microsoft.com/office/drawing/2014/main" id="{07513A77-C688-7C7E-D0A7-6DB9918279E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245" b="1245"/>
          <a:stretch/>
        </p:blipFill>
        <p:spPr bwMode="gray">
          <a:xfrm>
            <a:off x="6470036" y="1470278"/>
            <a:ext cx="4663660" cy="2519061"/>
          </a:xfrm>
          <a:prstGeom prst="rect">
            <a:avLst/>
          </a:prstGeom>
          <a:noFill/>
        </p:spPr>
      </p:pic>
      <p:sp>
        <p:nvSpPr>
          <p:cNvPr id="34" name="Text Placeholder 12">
            <a:extLst>
              <a:ext uri="{FF2B5EF4-FFF2-40B4-BE49-F238E27FC236}">
                <a16:creationId xmlns:a16="http://schemas.microsoft.com/office/drawing/2014/main" id="{60DD63A3-26FA-0545-E95F-ABC7687271A2}"/>
              </a:ext>
            </a:extLst>
          </p:cNvPr>
          <p:cNvSpPr txBox="1">
            <a:spLocks/>
          </p:cNvSpPr>
          <p:nvPr/>
        </p:nvSpPr>
        <p:spPr bwMode="gray">
          <a:xfrm>
            <a:off x="7604381" y="3625216"/>
            <a:ext cx="3529315" cy="360000"/>
          </a:xfrm>
          <a:custGeom>
            <a:avLst/>
            <a:gdLst>
              <a:gd name="connsiteX0" fmla="*/ 0 w 719840"/>
              <a:gd name="connsiteY0" fmla="*/ 0 h 6885383"/>
              <a:gd name="connsiteX1" fmla="*/ 719840 w 719840"/>
              <a:gd name="connsiteY1" fmla="*/ 0 h 6885383"/>
              <a:gd name="connsiteX2" fmla="*/ 719840 w 719840"/>
              <a:gd name="connsiteY2" fmla="*/ 6885383 h 6885383"/>
              <a:gd name="connsiteX3" fmla="*/ 0 w 719840"/>
              <a:gd name="connsiteY3" fmla="*/ 6885383 h 6885383"/>
              <a:gd name="connsiteX0" fmla="*/ 0 w 719840"/>
              <a:gd name="connsiteY0" fmla="*/ 6885383 h 6885383"/>
              <a:gd name="connsiteX1" fmla="*/ 719840 w 719840"/>
              <a:gd name="connsiteY1" fmla="*/ 0 h 6885383"/>
              <a:gd name="connsiteX2" fmla="*/ 719840 w 719840"/>
              <a:gd name="connsiteY2" fmla="*/ 6885383 h 6885383"/>
              <a:gd name="connsiteX3" fmla="*/ 0 w 719840"/>
              <a:gd name="connsiteY3" fmla="*/ 6885383 h 6885383"/>
            </a:gdLst>
            <a:ahLst/>
            <a:cxnLst>
              <a:cxn ang="0">
                <a:pos x="connsiteX0" y="connsiteY0"/>
              </a:cxn>
              <a:cxn ang="0">
                <a:pos x="connsiteX1" y="connsiteY1"/>
              </a:cxn>
              <a:cxn ang="0">
                <a:pos x="connsiteX2" y="connsiteY2"/>
              </a:cxn>
              <a:cxn ang="0">
                <a:pos x="connsiteX3" y="connsiteY3"/>
              </a:cxn>
            </a:cxnLst>
            <a:rect l="l" t="t" r="r" b="b"/>
            <a:pathLst>
              <a:path w="719840" h="6885383">
                <a:moveTo>
                  <a:pt x="0" y="6885383"/>
                </a:moveTo>
                <a:lnTo>
                  <a:pt x="719840" y="0"/>
                </a:lnTo>
                <a:lnTo>
                  <a:pt x="719840" y="6885383"/>
                </a:lnTo>
                <a:lnTo>
                  <a:pt x="0" y="6885383"/>
                </a:lnTo>
                <a:close/>
              </a:path>
            </a:pathLst>
          </a:custGeom>
          <a:solidFill>
            <a:schemeClr val="accent1">
              <a:alpha val="66000"/>
            </a:schemeClr>
          </a:solidFill>
        </p:spPr>
        <p:txBody>
          <a:bodyPr vert="horz" wrap="square"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600" b="0" kern="1200" noProof="0" dirty="0">
                <a:solidFill>
                  <a:schemeClr val="tx1">
                    <a:alpha val="0"/>
                  </a:schemeClr>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600" b="0" kern="1200">
                <a:solidFill>
                  <a:schemeClr val="tx1">
                    <a:alpha val="0"/>
                  </a:schemeClr>
                </a:solidFill>
                <a:latin typeface="+mn-lt"/>
                <a:ea typeface="+mn-ea"/>
                <a:cs typeface="+mn-cs"/>
              </a:defRPr>
            </a:lvl2pPr>
            <a:lvl3pPr marL="0" indent="0" algn="l" defTabSz="914400" rtl="0" eaLnBrk="1" latinLnBrk="0" hangingPunct="1">
              <a:lnSpc>
                <a:spcPct val="100000"/>
              </a:lnSpc>
              <a:spcBef>
                <a:spcPts val="0"/>
              </a:spcBef>
              <a:spcAft>
                <a:spcPts val="0"/>
              </a:spcAft>
              <a:buClr>
                <a:schemeClr val="accent1"/>
              </a:buClr>
              <a:buSzPct val="90000"/>
              <a:buFont typeface="Wingdings" panose="05000000000000000000" pitchFamily="2" charset="2"/>
              <a:buNone/>
              <a:defRPr sz="600" b="0" kern="1200">
                <a:solidFill>
                  <a:schemeClr val="tx1">
                    <a:alpha val="0"/>
                  </a:schemeClr>
                </a:solidFill>
                <a:latin typeface="+mn-lt"/>
                <a:ea typeface="+mn-ea"/>
                <a:cs typeface="+mn-cs"/>
              </a:defRPr>
            </a:lvl3pPr>
            <a:lvl4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4pPr>
            <a:lvl5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5pPr>
            <a:lvl6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6pPr>
            <a:lvl7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7pPr>
            <a:lvl8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8pPr>
            <a:lvl9pPr marL="0" indent="0" algn="l" defTabSz="914400" rtl="0" eaLnBrk="1" latinLnBrk="0" hangingPunct="1">
              <a:lnSpc>
                <a:spcPct val="100000"/>
              </a:lnSpc>
              <a:spcBef>
                <a:spcPts val="0"/>
              </a:spcBef>
              <a:spcAft>
                <a:spcPts val="0"/>
              </a:spcAft>
              <a:buFont typeface="Wingdings" panose="05000000000000000000" pitchFamily="2" charset="2"/>
              <a:buNone/>
              <a:defRPr sz="600" b="0" kern="1200">
                <a:solidFill>
                  <a:schemeClr val="tx1">
                    <a:alpha val="0"/>
                  </a:schemeClr>
                </a:solidFill>
                <a:latin typeface="+mn-lt"/>
                <a:ea typeface="+mn-ea"/>
                <a:cs typeface="+mn-cs"/>
              </a:defRPr>
            </a:lvl9pPr>
          </a:lstStyle>
          <a:p>
            <a:endParaRPr lang="en-US"/>
          </a:p>
        </p:txBody>
      </p:sp>
    </p:spTree>
    <p:extLst>
      <p:ext uri="{BB962C8B-B14F-4D97-AF65-F5344CB8AC3E}">
        <p14:creationId xmlns:p14="http://schemas.microsoft.com/office/powerpoint/2010/main" val="3595776795"/>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F1CC5EF-D243-4D82-8F8C-AF158ACBD1D2}"/>
              </a:ext>
            </a:extLst>
          </p:cNvPr>
          <p:cNvSpPr>
            <a:spLocks noGrp="1"/>
          </p:cNvSpPr>
          <p:nvPr>
            <p:ph type="title"/>
          </p:nvPr>
        </p:nvSpPr>
        <p:spPr>
          <a:xfrm>
            <a:off x="407367" y="692696"/>
            <a:ext cx="11376645" cy="648000"/>
          </a:xfrm>
        </p:spPr>
        <p:txBody>
          <a:bodyPr vert="horz" lIns="0" tIns="0" rIns="0" bIns="0" rtlCol="0" anchor="t">
            <a:normAutofit/>
          </a:bodyPr>
          <a:lstStyle/>
          <a:p>
            <a:r>
              <a:rPr lang="en-US" dirty="0"/>
              <a:t>Comparison of LCOE between different large-scale PV applications and lifetimes</a:t>
            </a:r>
            <a:endParaRPr lang="en-US" b="1" kern="1200" dirty="0"/>
          </a:p>
        </p:txBody>
      </p:sp>
      <p:pic>
        <p:nvPicPr>
          <p:cNvPr id="4" name="Picture 3" descr="A graph of different colored squares&#10;&#10;Description automatically generated">
            <a:extLst>
              <a:ext uri="{FF2B5EF4-FFF2-40B4-BE49-F238E27FC236}">
                <a16:creationId xmlns:a16="http://schemas.microsoft.com/office/drawing/2014/main" id="{8AAE6AEA-2EFF-825F-0C99-D005055C4A8E}"/>
              </a:ext>
            </a:extLst>
          </p:cNvPr>
          <p:cNvPicPr>
            <a:picLocks noChangeAspect="1"/>
          </p:cNvPicPr>
          <p:nvPr/>
        </p:nvPicPr>
        <p:blipFill>
          <a:blip r:embed="rId4"/>
          <a:stretch>
            <a:fillRect/>
          </a:stretch>
        </p:blipFill>
        <p:spPr>
          <a:xfrm>
            <a:off x="936011" y="1378215"/>
            <a:ext cx="10318714" cy="4824000"/>
          </a:xfrm>
          <a:prstGeom prst="rect">
            <a:avLst/>
          </a:prstGeom>
          <a:noFill/>
        </p:spPr>
      </p:pic>
      <p:sp>
        <p:nvSpPr>
          <p:cNvPr id="29" name="Slide Number Placeholder 3">
            <a:extLst>
              <a:ext uri="{FF2B5EF4-FFF2-40B4-BE49-F238E27FC236}">
                <a16:creationId xmlns:a16="http://schemas.microsoft.com/office/drawing/2014/main" id="{05867EA5-CE9A-9CE9-744E-F0217DDA2C1F}"/>
              </a:ext>
            </a:extLst>
          </p:cNvPr>
          <p:cNvSpPr>
            <a:spLocks noGrp="1"/>
          </p:cNvSpPr>
          <p:nvPr>
            <p:ph type="sldNum" sz="quarter" idx="12"/>
          </p:nvPr>
        </p:nvSpPr>
        <p:spPr>
          <a:xfrm>
            <a:off x="11568632" y="6561368"/>
            <a:ext cx="216000" cy="180000"/>
          </a:xfrm>
        </p:spPr>
        <p:txBody>
          <a:bodyPr vert="horz" wrap="none" lIns="0" tIns="0" rIns="0" bIns="0" rtlCol="0" anchor="ctr">
            <a:normAutofit/>
          </a:bodyPr>
          <a:lstStyle/>
          <a:p>
            <a:pPr>
              <a:spcAft>
                <a:spcPts val="600"/>
              </a:spcAft>
            </a:pPr>
            <a:fld id="{3B140A39-527A-45CF-A911-B921024B92E6}" type="slidenum">
              <a:rPr lang="en-US" smtClean="0"/>
              <a:pPr>
                <a:spcAft>
                  <a:spcPts val="600"/>
                </a:spcAft>
              </a:pPr>
              <a:t>7</a:t>
            </a:fld>
            <a:endParaRPr lang="en-US"/>
          </a:p>
        </p:txBody>
      </p:sp>
      <p:sp>
        <p:nvSpPr>
          <p:cNvPr id="3" name="Foliennummernplatzhalter 2" hidden="1">
            <a:extLst>
              <a:ext uri="{FF2B5EF4-FFF2-40B4-BE49-F238E27FC236}">
                <a16:creationId xmlns:a16="http://schemas.microsoft.com/office/drawing/2014/main" id="{4718BD8C-01E7-469D-84F0-58AB0877BC8B}"/>
              </a:ext>
            </a:extLst>
          </p:cNvPr>
          <p:cNvSpPr>
            <a:spLocks noGrp="1"/>
          </p:cNvSpPr>
          <p:nvPr>
            <p:ph type="sldNum" sz="quarter" idx="4294967295"/>
          </p:nvPr>
        </p:nvSpPr>
        <p:spPr>
          <a:xfrm>
            <a:off x="11568632" y="6561368"/>
            <a:ext cx="216000" cy="180000"/>
          </a:xfrm>
        </p:spPr>
        <p:txBody>
          <a:bodyPr wrap="none" anchor="ctr">
            <a:normAutofit/>
          </a:bodyPr>
          <a:lstStyle/>
          <a:p>
            <a:pPr>
              <a:spcAft>
                <a:spcPts val="600"/>
              </a:spcAft>
            </a:pPr>
            <a:fld id="{3B140A39-527A-45CF-A911-B921024B92E6}" type="slidenum">
              <a:rPr lang="en-GB" smtClean="0"/>
              <a:pPr>
                <a:spcAft>
                  <a:spcPts val="600"/>
                </a:spcAft>
              </a:pPr>
              <a:t>7</a:t>
            </a:fld>
            <a:endParaRPr lang="en-GB"/>
          </a:p>
        </p:txBody>
      </p:sp>
      <p:sp>
        <p:nvSpPr>
          <p:cNvPr id="2" name="Textplatzhalter 15">
            <a:extLst>
              <a:ext uri="{FF2B5EF4-FFF2-40B4-BE49-F238E27FC236}">
                <a16:creationId xmlns:a16="http://schemas.microsoft.com/office/drawing/2014/main" id="{81139748-DA20-038B-3F55-BD23036ABE8D}"/>
              </a:ext>
            </a:extLst>
          </p:cNvPr>
          <p:cNvSpPr txBox="1">
            <a:spLocks/>
          </p:cNvSpPr>
          <p:nvPr>
            <p:custDataLst>
              <p:tags r:id="rId1"/>
            </p:custDataLst>
          </p:nvPr>
        </p:nvSpPr>
        <p:spPr bwMode="gray">
          <a:xfrm>
            <a:off x="1734532" y="1709995"/>
            <a:ext cx="3365370" cy="703267"/>
          </a:xfrm>
          <a:prstGeom prst="roundRect">
            <a:avLst>
              <a:gd name="adj" fmla="val 4643"/>
            </a:avLst>
          </a:prstGeom>
          <a:solidFill>
            <a:schemeClr val="accent1"/>
          </a:solidFill>
          <a:ln>
            <a:noFill/>
          </a:ln>
        </p:spPr>
        <p:txBody>
          <a:bodyPr lIns="108000" tIns="72000" rIns="108000" bIns="7200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spcAft>
                <a:spcPts val="300"/>
              </a:spcAft>
              <a:buClr>
                <a:schemeClr val="accent1"/>
              </a:buClr>
              <a:buSzPct val="90000"/>
              <a:buFont typeface="Wingdings" panose="05000000000000000000" pitchFamily="2" charset="2"/>
              <a:buChar char="n"/>
              <a:defRPr sz="1600" kern="1200">
                <a:solidFill>
                  <a:schemeClr val="tx1"/>
                </a:solidFill>
                <a:latin typeface="+mn-lt"/>
                <a:ea typeface="+mn-ea"/>
                <a:cs typeface="+mn-cs"/>
              </a:defRPr>
            </a:lvl3pPr>
            <a:lvl4pPr marL="4445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4pPr>
            <a:lvl5pPr marL="622300" indent="-1778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5pPr>
            <a:lvl6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6pPr>
            <a:lvl7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7pPr>
            <a:lvl8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8pPr>
            <a:lvl9pPr marL="812800" indent="-190500" algn="l" defTabSz="914400" rtl="0" eaLnBrk="1" latinLnBrk="0" hangingPunct="1">
              <a:lnSpc>
                <a:spcPct val="100000"/>
              </a:lnSpc>
              <a:spcBef>
                <a:spcPts val="500"/>
              </a:spcBef>
              <a:spcAft>
                <a:spcPts val="0"/>
              </a:spcAft>
              <a:buFont typeface="Wingdings" panose="05000000000000000000" pitchFamily="2" charset="2"/>
              <a:buChar char="§"/>
              <a:defRPr sz="16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Arial"/>
                <a:ea typeface="+mn-ea"/>
                <a:cs typeface="+mn-cs"/>
              </a:rPr>
              <a:t>40% lower LCOE just because of a longer lifetime of the generator​</a:t>
            </a:r>
            <a:endParaRPr lang="en-US" b="0" dirty="0">
              <a:solidFill>
                <a:prstClr val="white"/>
              </a:solidFill>
              <a:latin typeface="Arial"/>
            </a:endParaRPr>
          </a:p>
        </p:txBody>
      </p:sp>
    </p:spTree>
    <p:extLst>
      <p:ext uri="{BB962C8B-B14F-4D97-AF65-F5344CB8AC3E}">
        <p14:creationId xmlns:p14="http://schemas.microsoft.com/office/powerpoint/2010/main" val="3670609181"/>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F1CC5EF-D243-4D82-8F8C-AF158ACBD1D2}"/>
              </a:ext>
            </a:extLst>
          </p:cNvPr>
          <p:cNvSpPr>
            <a:spLocks noGrp="1"/>
          </p:cNvSpPr>
          <p:nvPr>
            <p:ph type="title"/>
          </p:nvPr>
        </p:nvSpPr>
        <p:spPr>
          <a:xfrm>
            <a:off x="407367" y="692696"/>
            <a:ext cx="11376645" cy="648000"/>
          </a:xfrm>
        </p:spPr>
        <p:txBody>
          <a:bodyPr vert="horz" lIns="0" tIns="0" rIns="0" bIns="0" rtlCol="0" anchor="t">
            <a:normAutofit/>
          </a:bodyPr>
          <a:lstStyle/>
          <a:p>
            <a:r>
              <a:rPr lang="en-US" sz="1800" dirty="0"/>
              <a:t>We emphasize minimizing LCOE, and our development of installation cost dropped by 20% per year </a:t>
            </a:r>
            <a:endParaRPr lang="en-US" sz="1800" b="1" kern="1200" dirty="0"/>
          </a:p>
        </p:txBody>
      </p:sp>
      <p:pic>
        <p:nvPicPr>
          <p:cNvPr id="72" name="Picture 71">
            <a:extLst>
              <a:ext uri="{FF2B5EF4-FFF2-40B4-BE49-F238E27FC236}">
                <a16:creationId xmlns:a16="http://schemas.microsoft.com/office/drawing/2014/main" id="{502383D3-5E9A-D641-238A-DF85C7931E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87346" y="1331085"/>
            <a:ext cx="10416043" cy="4824000"/>
          </a:xfrm>
          <a:prstGeom prst="rect">
            <a:avLst/>
          </a:prstGeom>
          <a:noFill/>
        </p:spPr>
      </p:pic>
      <p:sp>
        <p:nvSpPr>
          <p:cNvPr id="29" name="Slide Number Placeholder 3">
            <a:extLst>
              <a:ext uri="{FF2B5EF4-FFF2-40B4-BE49-F238E27FC236}">
                <a16:creationId xmlns:a16="http://schemas.microsoft.com/office/drawing/2014/main" id="{05867EA5-CE9A-9CE9-744E-F0217DDA2C1F}"/>
              </a:ext>
            </a:extLst>
          </p:cNvPr>
          <p:cNvSpPr>
            <a:spLocks noGrp="1"/>
          </p:cNvSpPr>
          <p:nvPr>
            <p:ph type="sldNum" sz="quarter" idx="12"/>
          </p:nvPr>
        </p:nvSpPr>
        <p:spPr>
          <a:xfrm>
            <a:off x="11568632" y="6561368"/>
            <a:ext cx="216000" cy="180000"/>
          </a:xfrm>
        </p:spPr>
        <p:txBody>
          <a:bodyPr vert="horz" wrap="none" lIns="0" tIns="0" rIns="0" bIns="0" rtlCol="0" anchor="ctr">
            <a:normAutofit/>
          </a:bodyPr>
          <a:lstStyle/>
          <a:p>
            <a:pPr>
              <a:spcAft>
                <a:spcPts val="600"/>
              </a:spcAft>
            </a:pPr>
            <a:fld id="{3B140A39-527A-45CF-A911-B921024B92E6}" type="slidenum">
              <a:rPr lang="en-US" smtClean="0"/>
              <a:pPr>
                <a:spcAft>
                  <a:spcPts val="600"/>
                </a:spcAft>
              </a:pPr>
              <a:t>8</a:t>
            </a:fld>
            <a:endParaRPr lang="en-US"/>
          </a:p>
        </p:txBody>
      </p:sp>
      <p:sp>
        <p:nvSpPr>
          <p:cNvPr id="3" name="Foliennummernplatzhalter 2" hidden="1">
            <a:extLst>
              <a:ext uri="{FF2B5EF4-FFF2-40B4-BE49-F238E27FC236}">
                <a16:creationId xmlns:a16="http://schemas.microsoft.com/office/drawing/2014/main" id="{4718BD8C-01E7-469D-84F0-58AB0877BC8B}"/>
              </a:ext>
            </a:extLst>
          </p:cNvPr>
          <p:cNvSpPr>
            <a:spLocks noGrp="1"/>
          </p:cNvSpPr>
          <p:nvPr>
            <p:ph type="sldNum" sz="quarter" idx="4294967295"/>
          </p:nvPr>
        </p:nvSpPr>
        <p:spPr>
          <a:xfrm>
            <a:off x="11568632" y="6561368"/>
            <a:ext cx="216000" cy="180000"/>
          </a:xfrm>
        </p:spPr>
        <p:txBody>
          <a:bodyPr wrap="none" anchor="ctr">
            <a:normAutofit/>
          </a:bodyPr>
          <a:lstStyle/>
          <a:p>
            <a:pPr>
              <a:spcAft>
                <a:spcPts val="600"/>
              </a:spcAft>
            </a:pPr>
            <a:fld id="{3B140A39-527A-45CF-A911-B921024B92E6}" type="slidenum">
              <a:rPr lang="en-GB" smtClean="0"/>
              <a:pPr>
                <a:spcAft>
                  <a:spcPts val="600"/>
                </a:spcAft>
              </a:pPr>
              <a:t>8</a:t>
            </a:fld>
            <a:endParaRPr lang="en-GB"/>
          </a:p>
        </p:txBody>
      </p:sp>
    </p:spTree>
    <p:extLst>
      <p:ext uri="{BB962C8B-B14F-4D97-AF65-F5344CB8AC3E}">
        <p14:creationId xmlns:p14="http://schemas.microsoft.com/office/powerpoint/2010/main" val="222783695"/>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el 79">
            <a:extLst>
              <a:ext uri="{FF2B5EF4-FFF2-40B4-BE49-F238E27FC236}">
                <a16:creationId xmlns:a16="http://schemas.microsoft.com/office/drawing/2014/main" id="{5D936E7C-8BAF-4443-AF1D-094DE1163284}"/>
              </a:ext>
            </a:extLst>
          </p:cNvPr>
          <p:cNvSpPr>
            <a:spLocks noGrp="1"/>
          </p:cNvSpPr>
          <p:nvPr>
            <p:ph type="title"/>
          </p:nvPr>
        </p:nvSpPr>
        <p:spPr>
          <a:xfrm>
            <a:off x="407367" y="692696"/>
            <a:ext cx="11376645" cy="648000"/>
          </a:xfrm>
        </p:spPr>
        <p:txBody>
          <a:bodyPr anchor="t">
            <a:normAutofit/>
          </a:bodyPr>
          <a:lstStyle/>
          <a:p>
            <a:r>
              <a:rPr lang="de-DE" dirty="0"/>
              <a:t>… 40 </a:t>
            </a:r>
            <a:r>
              <a:rPr lang="de-DE" dirty="0" err="1"/>
              <a:t>years</a:t>
            </a:r>
            <a:r>
              <a:rPr lang="de-DE" dirty="0"/>
              <a:t> </a:t>
            </a:r>
            <a:r>
              <a:rPr lang="de-DE" dirty="0" err="1"/>
              <a:t>lifetime</a:t>
            </a:r>
            <a:r>
              <a:rPr lang="de-DE" dirty="0"/>
              <a:t>?</a:t>
            </a:r>
          </a:p>
        </p:txBody>
      </p:sp>
      <p:pic>
        <p:nvPicPr>
          <p:cNvPr id="82" name="Grafik 81">
            <a:extLst>
              <a:ext uri="{FF2B5EF4-FFF2-40B4-BE49-F238E27FC236}">
                <a16:creationId xmlns:a16="http://schemas.microsoft.com/office/drawing/2014/main" id="{4972088C-2FF4-4DCB-9AB5-D75A8134E359}"/>
              </a:ext>
            </a:extLst>
          </p:cNvPr>
          <p:cNvPicPr>
            <a:picLocks noChangeAspect="1"/>
          </p:cNvPicPr>
          <p:nvPr/>
        </p:nvPicPr>
        <p:blipFill>
          <a:blip r:embed="rId2">
            <a:extLst>
              <a:ext uri="{28A0092B-C50C-407E-A947-70E740481C1C}">
                <a14:useLocalDpi xmlns:a14="http://schemas.microsoft.com/office/drawing/2010/main" val="0"/>
              </a:ext>
            </a:extLst>
          </a:blip>
          <a:srcRect t="21730" b="21730"/>
          <a:stretch/>
        </p:blipFill>
        <p:spPr>
          <a:xfrm>
            <a:off x="407368" y="1557328"/>
            <a:ext cx="11376000" cy="4824000"/>
          </a:xfrm>
          <a:prstGeom prst="rect">
            <a:avLst/>
          </a:prstGeom>
          <a:noFill/>
        </p:spPr>
      </p:pic>
      <p:sp>
        <p:nvSpPr>
          <p:cNvPr id="3" name="Foliennummernplatzhalter 2">
            <a:extLst>
              <a:ext uri="{FF2B5EF4-FFF2-40B4-BE49-F238E27FC236}">
                <a16:creationId xmlns:a16="http://schemas.microsoft.com/office/drawing/2014/main" id="{42AA5A1B-005F-4761-A8BF-3B48CE5B4587}"/>
              </a:ext>
            </a:extLst>
          </p:cNvPr>
          <p:cNvSpPr>
            <a:spLocks noGrp="1"/>
          </p:cNvSpPr>
          <p:nvPr>
            <p:ph type="sldNum" sz="quarter" idx="12"/>
          </p:nvPr>
        </p:nvSpPr>
        <p:spPr>
          <a:xfrm>
            <a:off x="11568632" y="6561368"/>
            <a:ext cx="216000" cy="180000"/>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B140A39-527A-45CF-A911-B921024B92E6}" type="slidenum">
              <a:rPr kumimoji="0" lang="en-US"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9</a:t>
            </a:fld>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A0D1E45-D2E1-419E-A5AD-95653F9618D6}"/>
              </a:ext>
            </a:extLst>
          </p:cNvPr>
          <p:cNvSpPr>
            <a:spLocks noGrp="1"/>
          </p:cNvSpPr>
          <p:nvPr>
            <p:ph type="ftr" sz="quarter" idx="13"/>
          </p:nvPr>
        </p:nvSpPr>
        <p:spPr>
          <a:xfrm>
            <a:off x="6095999" y="6561368"/>
            <a:ext cx="5364000" cy="180000"/>
          </a:xfrm>
        </p:spPr>
        <p:txBody>
          <a:bodyPr anchor="ctr">
            <a:norm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600" b="0" i="0" u="none" strike="noStrike" kern="1200" cap="none" spc="0" normalizeH="0" baseline="0" noProof="0">
                <a:ln>
                  <a:noFill/>
                </a:ln>
                <a:solidFill>
                  <a:prstClr val="white"/>
                </a:solidFill>
                <a:effectLst/>
                <a:uLnTx/>
                <a:uFillTx/>
                <a:latin typeface="Arial"/>
                <a:ea typeface="+mn-ea"/>
                <a:cs typeface="+mn-cs"/>
              </a:rPr>
              <a:t>BayWa r.e. 2022 - How to minimize LCOE</a:t>
            </a:r>
          </a:p>
        </p:txBody>
      </p:sp>
      <p:sp>
        <p:nvSpPr>
          <p:cNvPr id="6" name="Textfeld 5">
            <a:extLst>
              <a:ext uri="{FF2B5EF4-FFF2-40B4-BE49-F238E27FC236}">
                <a16:creationId xmlns:a16="http://schemas.microsoft.com/office/drawing/2014/main" id="{BF2EF9D7-2853-40F6-A1D3-6661445C5B56}"/>
              </a:ext>
            </a:extLst>
          </p:cNvPr>
          <p:cNvSpPr txBox="1"/>
          <p:nvPr/>
        </p:nvSpPr>
        <p:spPr>
          <a:xfrm>
            <a:off x="6734997" y="756585"/>
            <a:ext cx="5048371" cy="648000"/>
          </a:xfrm>
          <a:prstGeom prst="rect">
            <a:avLst/>
          </a:prstGeom>
          <a:noFill/>
        </p:spPr>
        <p:txBody>
          <a:bodyPr wrap="square" lIns="108000" tIns="72000" rIns="108000" bIns="72000" rtlCol="0">
            <a:noAutofit/>
          </a:bodyPr>
          <a:lstStyle/>
          <a:p>
            <a:pPr marL="0" marR="0" lvl="0" indent="0" algn="r" defTabSz="914400" rtl="0" eaLnBrk="1" fontAlgn="auto" latinLnBrk="0" hangingPunct="1">
              <a:lnSpc>
                <a:spcPct val="100000"/>
              </a:lnSpc>
              <a:spcBef>
                <a:spcPts val="0"/>
              </a:spcBef>
              <a:spcAft>
                <a:spcPts val="0"/>
              </a:spcAft>
              <a:buClr>
                <a:srgbClr val="78B90F"/>
              </a:buClr>
              <a:buSzTx/>
              <a:buFontTx/>
              <a:buNone/>
              <a:tabLst/>
              <a:defRPr/>
            </a:pPr>
            <a:r>
              <a:rPr kumimoji="0" lang="de-DE" sz="1600" b="0" i="0" u="none" strike="noStrike" kern="1200" cap="none" spc="0" normalizeH="0" baseline="0" noProof="0" dirty="0" err="1">
                <a:ln>
                  <a:noFill/>
                </a:ln>
                <a:solidFill>
                  <a:prstClr val="white"/>
                </a:solidFill>
                <a:effectLst/>
                <a:uLnTx/>
                <a:uFillTx/>
                <a:latin typeface="Arial"/>
                <a:ea typeface="+mn-ea"/>
                <a:cs typeface="+mn-cs"/>
              </a:rPr>
              <a:t>unsufficient</a:t>
            </a:r>
            <a:r>
              <a:rPr kumimoji="0" lang="de-DE" sz="1600" b="0" i="0" u="none" strike="noStrike" kern="1200" cap="none" spc="0" normalizeH="0" baseline="0" noProof="0" dirty="0">
                <a:ln>
                  <a:noFill/>
                </a:ln>
                <a:solidFill>
                  <a:prstClr val="white"/>
                </a:solidFill>
                <a:effectLst/>
                <a:uLnTx/>
                <a:uFillTx/>
                <a:latin typeface="Arial"/>
                <a:ea typeface="+mn-ea"/>
                <a:cs typeface="+mn-cs"/>
              </a:rPr>
              <a:t> </a:t>
            </a:r>
            <a:r>
              <a:rPr kumimoji="0" lang="de-DE" sz="1600" b="0" i="0" u="none" strike="noStrike" kern="1200" cap="none" spc="0" normalizeH="0" baseline="0" noProof="0" dirty="0" err="1">
                <a:ln>
                  <a:noFill/>
                </a:ln>
                <a:solidFill>
                  <a:prstClr val="white"/>
                </a:solidFill>
                <a:effectLst/>
                <a:uLnTx/>
                <a:uFillTx/>
                <a:latin typeface="Arial"/>
                <a:ea typeface="+mn-ea"/>
                <a:cs typeface="+mn-cs"/>
              </a:rPr>
              <a:t>ground</a:t>
            </a:r>
            <a:r>
              <a:rPr kumimoji="0" lang="de-DE" sz="1600" b="0" i="0" u="none" strike="noStrike" kern="1200" cap="none" spc="0" normalizeH="0" baseline="0" noProof="0" dirty="0">
                <a:ln>
                  <a:noFill/>
                </a:ln>
                <a:solidFill>
                  <a:prstClr val="white"/>
                </a:solidFill>
                <a:effectLst/>
                <a:uLnTx/>
                <a:uFillTx/>
                <a:latin typeface="Arial"/>
                <a:ea typeface="+mn-ea"/>
                <a:cs typeface="+mn-cs"/>
              </a:rPr>
              <a:t> </a:t>
            </a:r>
            <a:r>
              <a:rPr kumimoji="0" lang="de-DE" sz="1600" b="0" i="0" u="none" strike="noStrike" kern="1200" cap="none" spc="0" normalizeH="0" baseline="0" noProof="0" dirty="0" err="1">
                <a:ln>
                  <a:noFill/>
                </a:ln>
                <a:solidFill>
                  <a:prstClr val="white"/>
                </a:solidFill>
                <a:effectLst/>
                <a:uLnTx/>
                <a:uFillTx/>
                <a:latin typeface="Arial"/>
                <a:ea typeface="+mn-ea"/>
                <a:cs typeface="+mn-cs"/>
              </a:rPr>
              <a:t>preparation</a:t>
            </a:r>
            <a:endParaRPr kumimoji="0" lang="de-DE"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r" defTabSz="914400" rtl="0" eaLnBrk="1" fontAlgn="auto" latinLnBrk="0" hangingPunct="1">
              <a:lnSpc>
                <a:spcPct val="100000"/>
              </a:lnSpc>
              <a:spcBef>
                <a:spcPts val="0"/>
              </a:spcBef>
              <a:spcAft>
                <a:spcPts val="0"/>
              </a:spcAft>
              <a:buClr>
                <a:srgbClr val="78B90F"/>
              </a:buClr>
              <a:buSzTx/>
              <a:buFontTx/>
              <a:buNone/>
              <a:tabLst/>
              <a:defRPr/>
            </a:pPr>
            <a:r>
              <a:rPr kumimoji="0" lang="de-DE" sz="1600" b="0" i="1" u="none" strike="noStrike" kern="1200" cap="none" spc="0" normalizeH="0" baseline="0" noProof="0" dirty="0">
                <a:ln>
                  <a:noFill/>
                </a:ln>
                <a:solidFill>
                  <a:prstClr val="white"/>
                </a:solidFill>
                <a:effectLst/>
                <a:uLnTx/>
                <a:uFillTx/>
                <a:latin typeface="Arial"/>
                <a:ea typeface="+mn-ea"/>
                <a:cs typeface="+mn-cs"/>
              </a:rPr>
              <a:t>Earth</a:t>
            </a:r>
          </a:p>
        </p:txBody>
      </p:sp>
    </p:spTree>
    <p:extLst>
      <p:ext uri="{BB962C8B-B14F-4D97-AF65-F5344CB8AC3E}">
        <p14:creationId xmlns:p14="http://schemas.microsoft.com/office/powerpoint/2010/main" val="37590657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ei737m7ETrE7XCoC5Iqhg"/>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6hezTqwhpTc5vLyo7Wyhw"/>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BayWa r.e.">
  <a:themeElements>
    <a:clrScheme name="BayWa r.e.">
      <a:dk1>
        <a:sysClr val="windowText" lastClr="000000"/>
      </a:dk1>
      <a:lt1>
        <a:sysClr val="window" lastClr="FFFFFF"/>
      </a:lt1>
      <a:dk2>
        <a:srgbClr val="D7373C"/>
      </a:dk2>
      <a:lt2>
        <a:srgbClr val="E3E3E3"/>
      </a:lt2>
      <a:accent1>
        <a:srgbClr val="78B90F"/>
      </a:accent1>
      <a:accent2>
        <a:srgbClr val="008C46"/>
      </a:accent2>
      <a:accent3>
        <a:srgbClr val="4C4C4C"/>
      </a:accent3>
      <a:accent4>
        <a:srgbClr val="FAD900"/>
      </a:accent4>
      <a:accent5>
        <a:srgbClr val="CCCCCC"/>
      </a:accent5>
      <a:accent6>
        <a:srgbClr val="7F7F7F"/>
      </a:accent6>
      <a:hlink>
        <a:srgbClr val="000000"/>
      </a:hlink>
      <a:folHlink>
        <a:srgbClr val="000000"/>
      </a:folHlink>
    </a:clrScheme>
    <a:fontScheme name="BayWa 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108000" tIns="72000" rIns="108000" bIns="72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oAutofit/>
      </a:bodyPr>
      <a:lstStyle>
        <a:defPPr marL="266700" indent="-266700" algn="l">
          <a:buClr>
            <a:schemeClr val="accent1"/>
          </a:buClr>
          <a:buFont typeface="Wingdings" panose="05000000000000000000" pitchFamily="2" charset="2"/>
          <a:buChar char="n"/>
          <a:defRPr sz="1600" dirty="0" err="1" smtClean="0"/>
        </a:defPPr>
      </a:lstStyle>
    </a:txDef>
  </a:objectDefaults>
  <a:extraClrSchemeLst/>
  <a:custClrLst>
    <a:custClr name="Grey 9">
      <a:srgbClr val="2E2E2E"/>
    </a:custClr>
    <a:custClr name="Grey 8">
      <a:srgbClr val="4C4C4C"/>
    </a:custClr>
    <a:custClr name="Grey 7">
      <a:srgbClr val="666666"/>
    </a:custClr>
    <a:custClr name="Grey 6">
      <a:srgbClr val="7F7F7F"/>
    </a:custClr>
    <a:custClr name="Grey 5">
      <a:srgbClr val="999999"/>
    </a:custClr>
    <a:custClr name="Grey 4">
      <a:srgbClr val="B2B2B2"/>
    </a:custClr>
    <a:custClr name="Grey 3">
      <a:srgbClr val="CCCCCC"/>
    </a:custClr>
    <a:custClr name="Grey2">
      <a:srgbClr val="E3E3E3"/>
    </a:custClr>
    <a:custClr name="Grey 1">
      <a:srgbClr val="F3F3F3"/>
    </a:custClr>
    <a:custClr name="White">
      <a:srgbClr val="FFFFFF"/>
    </a:custClr>
  </a:custClrLst>
  <a:extLst>
    <a:ext uri="{05A4C25C-085E-4340-85A3-A5531E510DB2}">
      <thm15:themeFamily xmlns:thm15="http://schemas.microsoft.com/office/thememl/2012/main" name="02_BayWa r.e. Company Presentation_Fact Slides EN" id="{D764A408-3252-4948-9D94-9DD63672CC82}" vid="{A0B983FF-76F0-40D7-B806-8AF8CE461AD1}"/>
    </a:ext>
  </a:extLst>
</a:theme>
</file>

<file path=ppt/theme/theme2.xml><?xml version="1.0" encoding="utf-8"?>
<a:theme xmlns:a="http://schemas.openxmlformats.org/drawingml/2006/main" name="Office">
  <a:themeElements>
    <a:clrScheme name="BayWa r.e.">
      <a:dk1>
        <a:sysClr val="windowText" lastClr="000000"/>
      </a:dk1>
      <a:lt1>
        <a:sysClr val="window" lastClr="FFFFFF"/>
      </a:lt1>
      <a:dk2>
        <a:srgbClr val="D7373C"/>
      </a:dk2>
      <a:lt2>
        <a:srgbClr val="E3E3E3"/>
      </a:lt2>
      <a:accent1>
        <a:srgbClr val="78B90F"/>
      </a:accent1>
      <a:accent2>
        <a:srgbClr val="008C46"/>
      </a:accent2>
      <a:accent3>
        <a:srgbClr val="4C4C4C"/>
      </a:accent3>
      <a:accent4>
        <a:srgbClr val="FAD900"/>
      </a:accent4>
      <a:accent5>
        <a:srgbClr val="CCCCCC"/>
      </a:accent5>
      <a:accent6>
        <a:srgbClr val="7F7F7F"/>
      </a:accent6>
      <a:hlink>
        <a:srgbClr val="000000"/>
      </a:hlink>
      <a:folHlink>
        <a:srgbClr val="000000"/>
      </a:folHlink>
    </a:clrScheme>
    <a:fontScheme name="BayWa 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108000" tIns="72000" rIns="108000" bIns="72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oAutofit/>
      </a:bodyPr>
      <a:lstStyle>
        <a:defPPr marL="266700" indent="-266700" algn="l">
          <a:buClr>
            <a:schemeClr val="accent1"/>
          </a:buClr>
          <a:buFont typeface="Wingdings" panose="05000000000000000000" pitchFamily="2" charset="2"/>
          <a:buChar char="n"/>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ayWa r.e.">
      <a:dk1>
        <a:sysClr val="windowText" lastClr="000000"/>
      </a:dk1>
      <a:lt1>
        <a:sysClr val="window" lastClr="FFFFFF"/>
      </a:lt1>
      <a:dk2>
        <a:srgbClr val="D7373C"/>
      </a:dk2>
      <a:lt2>
        <a:srgbClr val="E3E3E3"/>
      </a:lt2>
      <a:accent1>
        <a:srgbClr val="78B90F"/>
      </a:accent1>
      <a:accent2>
        <a:srgbClr val="008C46"/>
      </a:accent2>
      <a:accent3>
        <a:srgbClr val="4C4C4C"/>
      </a:accent3>
      <a:accent4>
        <a:srgbClr val="FAD900"/>
      </a:accent4>
      <a:accent5>
        <a:srgbClr val="CCCCCC"/>
      </a:accent5>
      <a:accent6>
        <a:srgbClr val="7F7F7F"/>
      </a:accent6>
      <a:hlink>
        <a:srgbClr val="000000"/>
      </a:hlink>
      <a:folHlink>
        <a:srgbClr val="000000"/>
      </a:folHlink>
    </a:clrScheme>
    <a:fontScheme name="BayWa 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108000" tIns="72000" rIns="108000" bIns="72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72000" rtlCol="0">
        <a:noAutofit/>
      </a:bodyPr>
      <a:lstStyle>
        <a:defPPr marL="266700" indent="-266700" algn="l">
          <a:buClr>
            <a:schemeClr val="accent1"/>
          </a:buClr>
          <a:buFont typeface="Wingdings" panose="05000000000000000000" pitchFamily="2" charset="2"/>
          <a:buChar char="n"/>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D32C915-1ED8-4832-AC52-82B943CA6B49}">
  <we:reference id="6a7bd4f3-0563-43af-8c08-79110eebdff6" version="1.1.4.0" store="EXCatalog" storeType="EXCatalog"/>
  <we:alternateReferences>
    <we:reference id="WA104381155" version="1.1.4.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C4992D52B014549AE9377B33956897E" ma:contentTypeVersion="15" ma:contentTypeDescription="Ein neues Dokument erstellen." ma:contentTypeScope="" ma:versionID="68ed43070f8dc342c50f31e48f9e8c52">
  <xsd:schema xmlns:xsd="http://www.w3.org/2001/XMLSchema" xmlns:xs="http://www.w3.org/2001/XMLSchema" xmlns:p="http://schemas.microsoft.com/office/2006/metadata/properties" xmlns:ns2="efa1097b-7aa3-4fb5-8cb3-c3c5cdd79c68" xmlns:ns3="1db8a89b-15cf-4219-bf40-6cabecaacc4d" targetNamespace="http://schemas.microsoft.com/office/2006/metadata/properties" ma:root="true" ma:fieldsID="015cba00f64f9362c0599d6b9e071c59" ns2:_="" ns3:_="">
    <xsd:import namespace="efa1097b-7aa3-4fb5-8cb3-c3c5cdd79c68"/>
    <xsd:import namespace="1db8a89b-15cf-4219-bf40-6cabecaacc4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a1097b-7aa3-4fb5-8cb3-c3c5cdd79c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c672bf6e-e923-46e3-8ab0-51e7db781b75"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b8a89b-15cf-4219-bf40-6cabecaacc4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73c7861-d8a8-435d-83fb-4ea531bf9bca}" ma:internalName="TaxCatchAll" ma:showField="CatchAllData" ma:web="1db8a89b-15cf-4219-bf40-6cabecaacc4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db8a89b-15cf-4219-bf40-6cabecaacc4d" xsi:nil="true"/>
    <SharedWithUsers xmlns="1db8a89b-15cf-4219-bf40-6cabecaacc4d">
      <UserInfo>
        <DisplayName>Thi Ngoc Anh Nguyen</DisplayName>
        <AccountId>3452</AccountId>
        <AccountType/>
      </UserInfo>
      <UserInfo>
        <DisplayName>Kapil Jaiswal</DisplayName>
        <AccountId>2351</AccountId>
        <AccountType/>
      </UserInfo>
      <UserInfo>
        <DisplayName>Dennis Milch</DisplayName>
        <AccountId>4007</AccountId>
        <AccountType/>
      </UserInfo>
      <UserInfo>
        <DisplayName>Frank Heidl</DisplayName>
        <AccountId>1919</AccountId>
        <AccountType/>
      </UserInfo>
      <UserInfo>
        <DisplayName>Sandra de Miguel Puchades</DisplayName>
        <AccountId>4656</AccountId>
        <AccountType/>
      </UserInfo>
      <UserInfo>
        <DisplayName>Maria Sava</DisplayName>
        <AccountId>4518</AccountId>
        <AccountType/>
      </UserInfo>
      <UserInfo>
        <DisplayName>Christina Schuhegger</DisplayName>
        <AccountId>1930</AccountId>
        <AccountType/>
      </UserInfo>
    </SharedWithUsers>
    <lcf76f155ced4ddcb4097134ff3c332f xmlns="efa1097b-7aa3-4fb5-8cb3-c3c5cdd79c6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DE8A63-68D8-47B0-B4B2-0C43BE94C3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a1097b-7aa3-4fb5-8cb3-c3c5cdd79c68"/>
    <ds:schemaRef ds:uri="1db8a89b-15cf-4219-bf40-6cabecaacc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7A9EE63-5177-4748-8A9C-60D1DBDC35F1}">
  <ds:schemaRefs>
    <ds:schemaRef ds:uri="http://purl.org/dc/elements/1.1/"/>
    <ds:schemaRef ds:uri="http://purl.org/dc/dcmitype/"/>
    <ds:schemaRef ds:uri="http://schemas.openxmlformats.org/package/2006/metadata/core-properties"/>
    <ds:schemaRef ds:uri="efa1097b-7aa3-4fb5-8cb3-c3c5cdd79c68"/>
    <ds:schemaRef ds:uri="1db8a89b-15cf-4219-bf40-6cabecaacc4d"/>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010C04A1-12DA-42E2-AA8D-51F3A3576C3E}">
  <ds:schemaRefs>
    <ds:schemaRef ds:uri="http://schemas.microsoft.com/sharepoint/v3/contenttype/forms"/>
  </ds:schemaRefs>
</ds:datastoreItem>
</file>

<file path=docMetadata/LabelInfo.xml><?xml version="1.0" encoding="utf-8"?>
<clbl:labelList xmlns:clbl="http://schemas.microsoft.com/office/2020/mipLabelMetadata">
  <clbl:label id="{c5d35081-d88e-4d27-8c32-8cc2e4c61c12}" enabled="0" method="" siteId="{c5d35081-d88e-4d27-8c32-8cc2e4c61c12}" removed="1"/>
</clbl:labelList>
</file>

<file path=docProps/app.xml><?xml version="1.0" encoding="utf-8"?>
<Properties xmlns="http://schemas.openxmlformats.org/officeDocument/2006/extended-properties" xmlns:vt="http://schemas.openxmlformats.org/officeDocument/2006/docPropsVTypes">
  <Template>Facet</Template>
  <TotalTime>11</TotalTime>
  <Words>1190</Words>
  <Application>Microsoft Office PowerPoint</Application>
  <PresentationFormat>Widescreen</PresentationFormat>
  <Paragraphs>155</Paragraphs>
  <Slides>15</Slides>
  <Notes>1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0" baseType="lpstr">
      <vt:lpstr>Arial</vt:lpstr>
      <vt:lpstr>Wingdings</vt:lpstr>
      <vt:lpstr>BayWa r.e.</vt:lpstr>
      <vt:lpstr>Diapositiva de think-cell</vt:lpstr>
      <vt:lpstr>think-cell Folie</vt:lpstr>
      <vt:lpstr>            BayWa r.e. in Romania:  Harnessing Expertise  Anamaria Acristini, Managing Director | BayWa r.e. Romania SRL Green Energy Conference, Bucharest </vt:lpstr>
      <vt:lpstr>BayWa r.e. Facts and Figures</vt:lpstr>
      <vt:lpstr>Our portfolio covers a broad range of renewable energies</vt:lpstr>
      <vt:lpstr>Driving forward the renewable transition with more than 30 years of experience in project business globally</vt:lpstr>
      <vt:lpstr>BayWa r.e. in Romania</vt:lpstr>
      <vt:lpstr>Reliable partner for developing solar parks, focusing on quality and taking our work to the next level with Floating-PV and Agri-PV</vt:lpstr>
      <vt:lpstr>Comparison of LCOE between different large-scale PV applications and lifetimes</vt:lpstr>
      <vt:lpstr>We emphasize minimizing LCOE, and our development of installation cost dropped by 20% per year </vt:lpstr>
      <vt:lpstr>… 40 years lifetime?</vt:lpstr>
      <vt:lpstr>… 40 years lifetime?</vt:lpstr>
      <vt:lpstr>… 40 years lifetime?</vt:lpstr>
      <vt:lpstr>To offer the lowest LCOE means:</vt:lpstr>
      <vt:lpstr>Our innovative approach going beyond PV – wind farms from mountain to sea</vt:lpstr>
      <vt:lpstr>The entire value chain from one single sourc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hink energy</dc:title>
  <dc:creator>Andreea Paraschiv</dc:creator>
  <dc:description>Optimize for PPT 2016</dc:description>
  <cp:lastModifiedBy>Ana-Maria Olteanu</cp:lastModifiedBy>
  <cp:revision>12</cp:revision>
  <cp:lastPrinted>2024-09-14T15:35:58Z</cp:lastPrinted>
  <dcterms:created xsi:type="dcterms:W3CDTF">2024-03-21T09:56:01Z</dcterms:created>
  <dcterms:modified xsi:type="dcterms:W3CDTF">2024-09-14T15: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4992D52B014549AE9377B33956897E</vt:lpwstr>
  </property>
  <property fmtid="{D5CDD505-2E9C-101B-9397-08002B2CF9AE}" pid="3" name="j65b15ff27754978b7b2fa378631eafa">
    <vt:lpwstr/>
  </property>
  <property fmtid="{D5CDD505-2E9C-101B-9397-08002B2CF9AE}" pid="4" name="ecsBereichArea">
    <vt:lpwstr/>
  </property>
  <property fmtid="{D5CDD505-2E9C-101B-9397-08002B2CF9AE}" pid="5" name="ecsDocumenttypeMarketingPR">
    <vt:lpwstr/>
  </property>
  <property fmtid="{D5CDD505-2E9C-101B-9397-08002B2CF9AE}" pid="6" name="ecsLegalEntity">
    <vt:lpwstr/>
  </property>
  <property fmtid="{D5CDD505-2E9C-101B-9397-08002B2CF9AE}" pid="7" name="k768824082b9429cb9dd3b6a794cb46e">
    <vt:lpwstr/>
  </property>
  <property fmtid="{D5CDD505-2E9C-101B-9397-08002B2CF9AE}" pid="8" name="MediaServiceImageTags">
    <vt:lpwstr/>
  </property>
  <property fmtid="{D5CDD505-2E9C-101B-9397-08002B2CF9AE}" pid="9" name="k157c98144024e2089f7603e9bc3b4cf">
    <vt:lpwstr/>
  </property>
  <property fmtid="{D5CDD505-2E9C-101B-9397-08002B2CF9AE}" pid="10" name="ecsDocumentTypeAdministration">
    <vt:lpwstr/>
  </property>
  <property fmtid="{D5CDD505-2E9C-101B-9397-08002B2CF9AE}" pid="11" name="ia0373aacb45443e9de8a65226f46b3a">
    <vt:lpwstr/>
  </property>
  <property fmtid="{D5CDD505-2E9C-101B-9397-08002B2CF9AE}" pid="12" name="pba225b3be674207aadd177c7f25d731">
    <vt:lpwstr/>
  </property>
  <property fmtid="{D5CDD505-2E9C-101B-9397-08002B2CF9AE}" pid="13" name="g20d4af8cde24fa48b924d60eff413fe">
    <vt:lpwstr/>
  </property>
  <property fmtid="{D5CDD505-2E9C-101B-9397-08002B2CF9AE}" pid="14" name="ecsDocumentTypeTravelmanagement">
    <vt:lpwstr/>
  </property>
  <property fmtid="{D5CDD505-2E9C-101B-9397-08002B2CF9AE}" pid="15" name="ecsYear">
    <vt:lpwstr/>
  </property>
  <property fmtid="{D5CDD505-2E9C-101B-9397-08002B2CF9AE}" pid="16" name="hc85e44f892a436dab77eea17b940e09">
    <vt:lpwstr/>
  </property>
  <property fmtid="{D5CDD505-2E9C-101B-9397-08002B2CF9AE}" pid="17" name="ecsDocumentTypeAccountsPayablesReceivables">
    <vt:lpwstr/>
  </property>
  <property fmtid="{D5CDD505-2E9C-101B-9397-08002B2CF9AE}" pid="18" name="cae1bbffe34e4d27959884a0ce66f64c">
    <vt:lpwstr/>
  </property>
  <property fmtid="{D5CDD505-2E9C-101B-9397-08002B2CF9AE}" pid="19" name="o7544c39ce81492aa949a17e29b0865d">
    <vt:lpwstr/>
  </property>
  <property fmtid="{D5CDD505-2E9C-101B-9397-08002B2CF9AE}" pid="20" name="ecsDocumentTypeOrganisation">
    <vt:lpwstr/>
  </property>
  <property fmtid="{D5CDD505-2E9C-101B-9397-08002B2CF9AE}" pid="21" name="ecsFinalisationStatus">
    <vt:lpwstr/>
  </property>
</Properties>
</file>